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5.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8.xml" ContentType="application/vnd.openxmlformats-officedocument.presentationml.notesSlide+xml"/>
  <Override PartName="/ppt/tags/tag23.xml" ContentType="application/vnd.openxmlformats-officedocument.presentationml.tags+xml"/>
  <Override PartName="/ppt/notesSlides/notesSlide9.xml" ContentType="application/vnd.openxmlformats-officedocument.presentationml.notesSlide+xml"/>
  <Override PartName="/ppt/tags/tag24.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13.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4.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18.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4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48"/>
  </p:notesMasterIdLst>
  <p:sldIdLst>
    <p:sldId id="2648" r:id="rId5"/>
    <p:sldId id="2498" r:id="rId6"/>
    <p:sldId id="2574" r:id="rId7"/>
    <p:sldId id="259" r:id="rId8"/>
    <p:sldId id="2649" r:id="rId9"/>
    <p:sldId id="2640" r:id="rId10"/>
    <p:sldId id="2669" r:id="rId11"/>
    <p:sldId id="297" r:id="rId12"/>
    <p:sldId id="2591" r:id="rId13"/>
    <p:sldId id="308" r:id="rId14"/>
    <p:sldId id="2672" r:id="rId15"/>
    <p:sldId id="2651" r:id="rId16"/>
    <p:sldId id="2673" r:id="rId17"/>
    <p:sldId id="2675" r:id="rId18"/>
    <p:sldId id="2684" r:id="rId19"/>
    <p:sldId id="2683" r:id="rId20"/>
    <p:sldId id="2682" r:id="rId21"/>
    <p:sldId id="2676" r:id="rId22"/>
    <p:sldId id="2685" r:id="rId23"/>
    <p:sldId id="2629" r:id="rId24"/>
    <p:sldId id="329" r:id="rId25"/>
    <p:sldId id="2664" r:id="rId26"/>
    <p:sldId id="2663" r:id="rId27"/>
    <p:sldId id="2657" r:id="rId28"/>
    <p:sldId id="2637" r:id="rId29"/>
    <p:sldId id="2660" r:id="rId30"/>
    <p:sldId id="2631" r:id="rId31"/>
    <p:sldId id="2632" r:id="rId32"/>
    <p:sldId id="2633" r:id="rId33"/>
    <p:sldId id="2658" r:id="rId34"/>
    <p:sldId id="2601" r:id="rId35"/>
    <p:sldId id="2596" r:id="rId36"/>
    <p:sldId id="2661" r:id="rId37"/>
    <p:sldId id="2666" r:id="rId38"/>
    <p:sldId id="2662" r:id="rId39"/>
    <p:sldId id="2597" r:id="rId40"/>
    <p:sldId id="2621" r:id="rId41"/>
    <p:sldId id="2665" r:id="rId42"/>
    <p:sldId id="2626" r:id="rId43"/>
    <p:sldId id="2620" r:id="rId44"/>
    <p:sldId id="2615" r:id="rId45"/>
    <p:sldId id="2598" r:id="rId46"/>
    <p:sldId id="2612" r:id="rId47"/>
  </p:sldIdLst>
  <p:sldSz cx="12192000" cy="6858000"/>
  <p:notesSz cx="7104063" cy="10234613"/>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281FB66-5EF3-3527-6DEB-E380092BFB4C}" name="Claus Weiland" initials="CW" userId="S::claus.weiland@consentioconsulting.dk::1ef9188d-6cab-4e12-b84d-d8261cebc70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orten Stedstrup Mosgaard" initials="MSM" lastIdx="1" clrIdx="0">
    <p:extLst>
      <p:ext uri="{19B8F6BF-5375-455C-9EA6-DF929625EA0E}">
        <p15:presenceInfo xmlns:p15="http://schemas.microsoft.com/office/powerpoint/2012/main" userId="S::momos@rodekors.dk::6b8fba6f-91e0-49d6-b76a-a5f8a2822d7b" providerId="AD"/>
      </p:ext>
    </p:extLst>
  </p:cmAuthor>
  <p:cmAuthor id="2" name="Sune Bülow" initials="SB" lastIdx="1" clrIdx="1">
    <p:extLst>
      <p:ext uri="{19B8F6BF-5375-455C-9EA6-DF929625EA0E}">
        <p15:presenceInfo xmlns:p15="http://schemas.microsoft.com/office/powerpoint/2012/main" userId="S::subul@rodekors.dk::0504ffea-52da-45c4-b2db-d886d48a0b9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7F7F"/>
    <a:srgbClr val="969294"/>
    <a:srgbClr val="FCD2DD"/>
    <a:srgbClr val="C01333"/>
    <a:srgbClr val="C8171E"/>
    <a:srgbClr val="F38A9D"/>
    <a:srgbClr val="ED506D"/>
    <a:srgbClr val="FAE3E9"/>
    <a:srgbClr val="FAF2F4"/>
    <a:srgbClr val="A6A6A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4FAB2B0-3E0F-4780-982C-D5AA67AFA08B}" v="11" dt="2025-04-14T15:07:42.924"/>
  </p1510:revLst>
</p1510:revInfo>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C7853C-536D-4A76-A0AE-DD22124D55A5}" styleName="Tema til typografi 1 - Markering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08FB837D-C827-4EFA-A057-4D05807E0F7C}" styleName="Tema til typografi 1 - Markering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E8034E78-7F5D-4C2E-B375-FC64B27BC917}" styleName="Mørkt layou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7CE84F3-28C3-443E-9E96-99CF82512B78}" styleName="Mørkt layout 1 - Markering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9CF1AB2-1976-4502-BF36-3FF5EA218861}" styleName="Mellemlayout 4 - Markering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D7AC3CCA-C797-4891-BE02-D94E43425B78}" styleName="Mellemlayout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EB344D84-9AFB-497E-A393-DC336BA19D2E}" styleName="Mellemlayout 3 - Markering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Mellemlayout 3 - Markering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E25E649-3F16-4E02-A733-19D2CDBF48F0}" styleName="Mellemlayout 3 - Markering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7464" autoAdjust="0"/>
  </p:normalViewPr>
  <p:slideViewPr>
    <p:cSldViewPr snapToGrid="0">
      <p:cViewPr>
        <p:scale>
          <a:sx n="80" d="100"/>
          <a:sy n="80" d="100"/>
        </p:scale>
        <p:origin x="40" y="-1036"/>
      </p:cViewPr>
      <p:guideLst>
        <p:guide orient="horz" pos="2183"/>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presProps" Target="presProps.xml"/><Relationship Id="rId55"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notesMaster" Target="notesMasters/notesMaster1.xml"/><Relationship Id="rId56" Type="http://schemas.microsoft.com/office/2018/10/relationships/authors" Target="authors.xml"/><Relationship Id="rId8" Type="http://schemas.openxmlformats.org/officeDocument/2006/relationships/slide" Target="slides/slide4.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jarne Stavnshøj" userId="ab6928f3-1e8f-4bd8-aa0d-edf50dc48c3d" providerId="ADAL" clId="{34FAB2B0-3E0F-4780-982C-D5AA67AFA08B}"/>
    <pc:docChg chg="undo custSel delSld modSld modMainMaster modNotesMaster">
      <pc:chgData name="Bjarne Stavnshøj" userId="ab6928f3-1e8f-4bd8-aa0d-edf50dc48c3d" providerId="ADAL" clId="{34FAB2B0-3E0F-4780-982C-D5AA67AFA08B}" dt="2025-04-14T15:07:42.924" v="2902"/>
      <pc:docMkLst>
        <pc:docMk/>
      </pc:docMkLst>
      <pc:sldChg chg="modSp mod modNotesTx">
        <pc:chgData name="Bjarne Stavnshøj" userId="ab6928f3-1e8f-4bd8-aa0d-edf50dc48c3d" providerId="ADAL" clId="{34FAB2B0-3E0F-4780-982C-D5AA67AFA08B}" dt="2025-04-14T13:54:23.166" v="2895" actId="20577"/>
        <pc:sldMkLst>
          <pc:docMk/>
          <pc:sldMk cId="3197204977" sldId="259"/>
        </pc:sldMkLst>
        <pc:spChg chg="mod">
          <ac:chgData name="Bjarne Stavnshøj" userId="ab6928f3-1e8f-4bd8-aa0d-edf50dc48c3d" providerId="ADAL" clId="{34FAB2B0-3E0F-4780-982C-D5AA67AFA08B}" dt="2025-04-14T13:52:11.689" v="2769" actId="20577"/>
          <ac:spMkLst>
            <pc:docMk/>
            <pc:sldMk cId="3197204977" sldId="259"/>
            <ac:spMk id="38" creationId="{00000000-0000-0000-0000-000000000000}"/>
          </ac:spMkLst>
        </pc:spChg>
      </pc:sldChg>
      <pc:sldChg chg="delSp mod">
        <pc:chgData name="Bjarne Stavnshøj" userId="ab6928f3-1e8f-4bd8-aa0d-edf50dc48c3d" providerId="ADAL" clId="{34FAB2B0-3E0F-4780-982C-D5AA67AFA08B}" dt="2025-04-14T13:24:43.047" v="2225" actId="478"/>
        <pc:sldMkLst>
          <pc:docMk/>
          <pc:sldMk cId="3885503690" sldId="297"/>
        </pc:sldMkLst>
        <pc:spChg chg="del">
          <ac:chgData name="Bjarne Stavnshøj" userId="ab6928f3-1e8f-4bd8-aa0d-edf50dc48c3d" providerId="ADAL" clId="{34FAB2B0-3E0F-4780-982C-D5AA67AFA08B}" dt="2025-04-14T13:24:43.047" v="2225" actId="478"/>
          <ac:spMkLst>
            <pc:docMk/>
            <pc:sldMk cId="3885503690" sldId="297"/>
            <ac:spMk id="5" creationId="{12DC692B-BEDC-9010-7F1C-DCD7C7778BA5}"/>
          </ac:spMkLst>
        </pc:spChg>
      </pc:sldChg>
      <pc:sldChg chg="delSp mod">
        <pc:chgData name="Bjarne Stavnshøj" userId="ab6928f3-1e8f-4bd8-aa0d-edf50dc48c3d" providerId="ADAL" clId="{34FAB2B0-3E0F-4780-982C-D5AA67AFA08B}" dt="2025-04-14T13:25:02.618" v="2227" actId="478"/>
        <pc:sldMkLst>
          <pc:docMk/>
          <pc:sldMk cId="1915354651" sldId="308"/>
        </pc:sldMkLst>
        <pc:spChg chg="del">
          <ac:chgData name="Bjarne Stavnshøj" userId="ab6928f3-1e8f-4bd8-aa0d-edf50dc48c3d" providerId="ADAL" clId="{34FAB2B0-3E0F-4780-982C-D5AA67AFA08B}" dt="2025-04-14T13:25:02.618" v="2227" actId="478"/>
          <ac:spMkLst>
            <pc:docMk/>
            <pc:sldMk cId="1915354651" sldId="308"/>
            <ac:spMk id="5" creationId="{61CDFDD3-A69B-E233-1D2C-B33C826195AE}"/>
          </ac:spMkLst>
        </pc:spChg>
      </pc:sldChg>
      <pc:sldChg chg="delSp mod modNotesTx">
        <pc:chgData name="Bjarne Stavnshøj" userId="ab6928f3-1e8f-4bd8-aa0d-edf50dc48c3d" providerId="ADAL" clId="{34FAB2B0-3E0F-4780-982C-D5AA67AFA08B}" dt="2025-04-14T13:26:13.688" v="2235" actId="478"/>
        <pc:sldMkLst>
          <pc:docMk/>
          <pc:sldMk cId="2712744618" sldId="329"/>
        </pc:sldMkLst>
        <pc:spChg chg="del">
          <ac:chgData name="Bjarne Stavnshøj" userId="ab6928f3-1e8f-4bd8-aa0d-edf50dc48c3d" providerId="ADAL" clId="{34FAB2B0-3E0F-4780-982C-D5AA67AFA08B}" dt="2025-04-14T13:26:13.688" v="2235" actId="478"/>
          <ac:spMkLst>
            <pc:docMk/>
            <pc:sldMk cId="2712744618" sldId="329"/>
            <ac:spMk id="5" creationId="{EA6A3CC0-3802-70D5-A4F4-2843FA1EF931}"/>
          </ac:spMkLst>
        </pc:spChg>
      </pc:sldChg>
      <pc:sldChg chg="delSp mod">
        <pc:chgData name="Bjarne Stavnshøj" userId="ab6928f3-1e8f-4bd8-aa0d-edf50dc48c3d" providerId="ADAL" clId="{34FAB2B0-3E0F-4780-982C-D5AA67AFA08B}" dt="2025-04-14T13:24:07.904" v="2223" actId="478"/>
        <pc:sldMkLst>
          <pc:docMk/>
          <pc:sldMk cId="2999078911" sldId="2574"/>
        </pc:sldMkLst>
        <pc:spChg chg="del">
          <ac:chgData name="Bjarne Stavnshøj" userId="ab6928f3-1e8f-4bd8-aa0d-edf50dc48c3d" providerId="ADAL" clId="{34FAB2B0-3E0F-4780-982C-D5AA67AFA08B}" dt="2025-04-14T13:24:07.904" v="2223" actId="478"/>
          <ac:spMkLst>
            <pc:docMk/>
            <pc:sldMk cId="2999078911" sldId="2574"/>
            <ac:spMk id="6" creationId="{DEF0FACC-E571-C9D3-3C3C-956AFB235404}"/>
          </ac:spMkLst>
        </pc:spChg>
      </pc:sldChg>
      <pc:sldChg chg="delSp mod">
        <pc:chgData name="Bjarne Stavnshøj" userId="ab6928f3-1e8f-4bd8-aa0d-edf50dc48c3d" providerId="ADAL" clId="{34FAB2B0-3E0F-4780-982C-D5AA67AFA08B}" dt="2025-04-14T13:24:51.645" v="2226" actId="478"/>
        <pc:sldMkLst>
          <pc:docMk/>
          <pc:sldMk cId="4276135866" sldId="2591"/>
        </pc:sldMkLst>
        <pc:spChg chg="del">
          <ac:chgData name="Bjarne Stavnshøj" userId="ab6928f3-1e8f-4bd8-aa0d-edf50dc48c3d" providerId="ADAL" clId="{34FAB2B0-3E0F-4780-982C-D5AA67AFA08B}" dt="2025-04-14T13:24:51.645" v="2226" actId="478"/>
          <ac:spMkLst>
            <pc:docMk/>
            <pc:sldMk cId="4276135866" sldId="2591"/>
            <ac:spMk id="3" creationId="{8A6971E3-2484-8B77-B03C-62465CBD4B25}"/>
          </ac:spMkLst>
        </pc:spChg>
      </pc:sldChg>
      <pc:sldChg chg="delSp mod">
        <pc:chgData name="Bjarne Stavnshøj" userId="ab6928f3-1e8f-4bd8-aa0d-edf50dc48c3d" providerId="ADAL" clId="{34FAB2B0-3E0F-4780-982C-D5AA67AFA08B}" dt="2025-04-14T13:27:34.681" v="2246" actId="478"/>
        <pc:sldMkLst>
          <pc:docMk/>
          <pc:sldMk cId="837584584" sldId="2596"/>
        </pc:sldMkLst>
        <pc:spChg chg="del">
          <ac:chgData name="Bjarne Stavnshøj" userId="ab6928f3-1e8f-4bd8-aa0d-edf50dc48c3d" providerId="ADAL" clId="{34FAB2B0-3E0F-4780-982C-D5AA67AFA08B}" dt="2025-04-14T13:27:34.681" v="2246" actId="478"/>
          <ac:spMkLst>
            <pc:docMk/>
            <pc:sldMk cId="837584584" sldId="2596"/>
            <ac:spMk id="2" creationId="{E49E227A-E2F0-0A4C-E6AC-966DA07971B7}"/>
          </ac:spMkLst>
        </pc:spChg>
      </pc:sldChg>
      <pc:sldChg chg="delSp mod">
        <pc:chgData name="Bjarne Stavnshøj" userId="ab6928f3-1e8f-4bd8-aa0d-edf50dc48c3d" providerId="ADAL" clId="{34FAB2B0-3E0F-4780-982C-D5AA67AFA08B}" dt="2025-04-14T13:28:02.669" v="2250" actId="478"/>
        <pc:sldMkLst>
          <pc:docMk/>
          <pc:sldMk cId="2414471654" sldId="2597"/>
        </pc:sldMkLst>
        <pc:spChg chg="del">
          <ac:chgData name="Bjarne Stavnshøj" userId="ab6928f3-1e8f-4bd8-aa0d-edf50dc48c3d" providerId="ADAL" clId="{34FAB2B0-3E0F-4780-982C-D5AA67AFA08B}" dt="2025-04-14T13:28:02.669" v="2250" actId="478"/>
          <ac:spMkLst>
            <pc:docMk/>
            <pc:sldMk cId="2414471654" sldId="2597"/>
            <ac:spMk id="2" creationId="{5ACD55FD-2023-21AD-3DED-6F603C64B12C}"/>
          </ac:spMkLst>
        </pc:spChg>
      </pc:sldChg>
      <pc:sldChg chg="delSp mod">
        <pc:chgData name="Bjarne Stavnshøj" userId="ab6928f3-1e8f-4bd8-aa0d-edf50dc48c3d" providerId="ADAL" clId="{34FAB2B0-3E0F-4780-982C-D5AA67AFA08B}" dt="2025-04-14T13:28:44.126" v="2256" actId="478"/>
        <pc:sldMkLst>
          <pc:docMk/>
          <pc:sldMk cId="1298859464" sldId="2598"/>
        </pc:sldMkLst>
        <pc:spChg chg="del">
          <ac:chgData name="Bjarne Stavnshøj" userId="ab6928f3-1e8f-4bd8-aa0d-edf50dc48c3d" providerId="ADAL" clId="{34FAB2B0-3E0F-4780-982C-D5AA67AFA08B}" dt="2025-04-14T13:28:44.126" v="2256" actId="478"/>
          <ac:spMkLst>
            <pc:docMk/>
            <pc:sldMk cId="1298859464" sldId="2598"/>
            <ac:spMk id="2" creationId="{ABD3F8A5-A36B-E18C-38D2-DBE33CF892EC}"/>
          </ac:spMkLst>
        </pc:spChg>
      </pc:sldChg>
      <pc:sldChg chg="delSp mod">
        <pc:chgData name="Bjarne Stavnshøj" userId="ab6928f3-1e8f-4bd8-aa0d-edf50dc48c3d" providerId="ADAL" clId="{34FAB2B0-3E0F-4780-982C-D5AA67AFA08B}" dt="2025-04-14T13:27:27.924" v="2245" actId="478"/>
        <pc:sldMkLst>
          <pc:docMk/>
          <pc:sldMk cId="712797233" sldId="2601"/>
        </pc:sldMkLst>
        <pc:spChg chg="del">
          <ac:chgData name="Bjarne Stavnshøj" userId="ab6928f3-1e8f-4bd8-aa0d-edf50dc48c3d" providerId="ADAL" clId="{34FAB2B0-3E0F-4780-982C-D5AA67AFA08B}" dt="2025-04-14T13:27:27.924" v="2245" actId="478"/>
          <ac:spMkLst>
            <pc:docMk/>
            <pc:sldMk cId="712797233" sldId="2601"/>
            <ac:spMk id="2" creationId="{23D06501-5D69-5DFB-8E31-AAD93DA0E203}"/>
          </ac:spMkLst>
        </pc:spChg>
      </pc:sldChg>
      <pc:sldChg chg="delSp mod">
        <pc:chgData name="Bjarne Stavnshøj" userId="ab6928f3-1e8f-4bd8-aa0d-edf50dc48c3d" providerId="ADAL" clId="{34FAB2B0-3E0F-4780-982C-D5AA67AFA08B}" dt="2025-04-14T13:28:38.705" v="2255" actId="478"/>
        <pc:sldMkLst>
          <pc:docMk/>
          <pc:sldMk cId="2618292151" sldId="2615"/>
        </pc:sldMkLst>
        <pc:spChg chg="del">
          <ac:chgData name="Bjarne Stavnshøj" userId="ab6928f3-1e8f-4bd8-aa0d-edf50dc48c3d" providerId="ADAL" clId="{34FAB2B0-3E0F-4780-982C-D5AA67AFA08B}" dt="2025-04-14T13:28:38.705" v="2255" actId="478"/>
          <ac:spMkLst>
            <pc:docMk/>
            <pc:sldMk cId="2618292151" sldId="2615"/>
            <ac:spMk id="2" creationId="{782C6300-FF32-AFA0-01FC-4EB5861E54F1}"/>
          </ac:spMkLst>
        </pc:spChg>
      </pc:sldChg>
      <pc:sldChg chg="delSp mod">
        <pc:chgData name="Bjarne Stavnshøj" userId="ab6928f3-1e8f-4bd8-aa0d-edf50dc48c3d" providerId="ADAL" clId="{34FAB2B0-3E0F-4780-982C-D5AA67AFA08B}" dt="2025-04-14T13:28:31.944" v="2254" actId="478"/>
        <pc:sldMkLst>
          <pc:docMk/>
          <pc:sldMk cId="681916531" sldId="2620"/>
        </pc:sldMkLst>
        <pc:spChg chg="del">
          <ac:chgData name="Bjarne Stavnshøj" userId="ab6928f3-1e8f-4bd8-aa0d-edf50dc48c3d" providerId="ADAL" clId="{34FAB2B0-3E0F-4780-982C-D5AA67AFA08B}" dt="2025-04-14T13:28:31.944" v="2254" actId="478"/>
          <ac:spMkLst>
            <pc:docMk/>
            <pc:sldMk cId="681916531" sldId="2620"/>
            <ac:spMk id="2" creationId="{9EC8FAB3-B3EB-BBB3-306D-D5E770A1A88C}"/>
          </ac:spMkLst>
        </pc:spChg>
      </pc:sldChg>
      <pc:sldChg chg="delSp mod">
        <pc:chgData name="Bjarne Stavnshøj" userId="ab6928f3-1e8f-4bd8-aa0d-edf50dc48c3d" providerId="ADAL" clId="{34FAB2B0-3E0F-4780-982C-D5AA67AFA08B}" dt="2025-04-14T13:28:08.942" v="2251" actId="478"/>
        <pc:sldMkLst>
          <pc:docMk/>
          <pc:sldMk cId="200125503" sldId="2621"/>
        </pc:sldMkLst>
        <pc:spChg chg="del">
          <ac:chgData name="Bjarne Stavnshøj" userId="ab6928f3-1e8f-4bd8-aa0d-edf50dc48c3d" providerId="ADAL" clId="{34FAB2B0-3E0F-4780-982C-D5AA67AFA08B}" dt="2025-04-14T13:28:08.942" v="2251" actId="478"/>
          <ac:spMkLst>
            <pc:docMk/>
            <pc:sldMk cId="200125503" sldId="2621"/>
            <ac:spMk id="5" creationId="{7F05163C-28FE-71D9-6808-CB128A4BFF87}"/>
          </ac:spMkLst>
        </pc:spChg>
      </pc:sldChg>
      <pc:sldChg chg="delSp mod modNotesTx">
        <pc:chgData name="Bjarne Stavnshøj" userId="ab6928f3-1e8f-4bd8-aa0d-edf50dc48c3d" providerId="ADAL" clId="{34FAB2B0-3E0F-4780-982C-D5AA67AFA08B}" dt="2025-04-14T13:28:23.748" v="2253" actId="478"/>
        <pc:sldMkLst>
          <pc:docMk/>
          <pc:sldMk cId="808843204" sldId="2626"/>
        </pc:sldMkLst>
        <pc:spChg chg="del">
          <ac:chgData name="Bjarne Stavnshøj" userId="ab6928f3-1e8f-4bd8-aa0d-edf50dc48c3d" providerId="ADAL" clId="{34FAB2B0-3E0F-4780-982C-D5AA67AFA08B}" dt="2025-04-14T13:28:23.748" v="2253" actId="478"/>
          <ac:spMkLst>
            <pc:docMk/>
            <pc:sldMk cId="808843204" sldId="2626"/>
            <ac:spMk id="5" creationId="{FC0E59F8-C25C-4C56-6E24-0AE03C70F835}"/>
          </ac:spMkLst>
        </pc:spChg>
      </pc:sldChg>
      <pc:sldChg chg="delSp mod">
        <pc:chgData name="Bjarne Stavnshøj" userId="ab6928f3-1e8f-4bd8-aa0d-edf50dc48c3d" providerId="ADAL" clId="{34FAB2B0-3E0F-4780-982C-D5AA67AFA08B}" dt="2025-04-14T13:26:06.907" v="2234" actId="478"/>
        <pc:sldMkLst>
          <pc:docMk/>
          <pc:sldMk cId="4138396631" sldId="2629"/>
        </pc:sldMkLst>
        <pc:spChg chg="del">
          <ac:chgData name="Bjarne Stavnshøj" userId="ab6928f3-1e8f-4bd8-aa0d-edf50dc48c3d" providerId="ADAL" clId="{34FAB2B0-3E0F-4780-982C-D5AA67AFA08B}" dt="2025-04-14T13:26:06.907" v="2234" actId="478"/>
          <ac:spMkLst>
            <pc:docMk/>
            <pc:sldMk cId="4138396631" sldId="2629"/>
            <ac:spMk id="2" creationId="{68670072-87D5-C59A-1CDA-9CF0244AE18C}"/>
          </ac:spMkLst>
        </pc:spChg>
      </pc:sldChg>
      <pc:sldChg chg="delSp modSp mod modNotesTx">
        <pc:chgData name="Bjarne Stavnshøj" userId="ab6928f3-1e8f-4bd8-aa0d-edf50dc48c3d" providerId="ADAL" clId="{34FAB2B0-3E0F-4780-982C-D5AA67AFA08B}" dt="2025-04-14T13:41:13.528" v="2357" actId="20577"/>
        <pc:sldMkLst>
          <pc:docMk/>
          <pc:sldMk cId="3904323946" sldId="2631"/>
        </pc:sldMkLst>
        <pc:spChg chg="mod">
          <ac:chgData name="Bjarne Stavnshøj" userId="ab6928f3-1e8f-4bd8-aa0d-edf50dc48c3d" providerId="ADAL" clId="{34FAB2B0-3E0F-4780-982C-D5AA67AFA08B}" dt="2025-04-14T12:33:31.658" v="1820" actId="20577"/>
          <ac:spMkLst>
            <pc:docMk/>
            <pc:sldMk cId="3904323946" sldId="2631"/>
            <ac:spMk id="2" creationId="{92F6208E-9313-B8B5-CA1F-EEF884ECEAF2}"/>
          </ac:spMkLst>
        </pc:spChg>
        <pc:spChg chg="del">
          <ac:chgData name="Bjarne Stavnshøj" userId="ab6928f3-1e8f-4bd8-aa0d-edf50dc48c3d" providerId="ADAL" clId="{34FAB2B0-3E0F-4780-982C-D5AA67AFA08B}" dt="2025-04-14T13:26:56.243" v="2241" actId="478"/>
          <ac:spMkLst>
            <pc:docMk/>
            <pc:sldMk cId="3904323946" sldId="2631"/>
            <ac:spMk id="6" creationId="{B8169B14-7E0E-5367-E7C9-88DD97179840}"/>
          </ac:spMkLst>
        </pc:spChg>
      </pc:sldChg>
      <pc:sldChg chg="delSp modSp mod modNotesTx">
        <pc:chgData name="Bjarne Stavnshøj" userId="ab6928f3-1e8f-4bd8-aa0d-edf50dc48c3d" providerId="ADAL" clId="{34FAB2B0-3E0F-4780-982C-D5AA67AFA08B}" dt="2025-04-14T13:41:37.833" v="2358"/>
        <pc:sldMkLst>
          <pc:docMk/>
          <pc:sldMk cId="4179408957" sldId="2632"/>
        </pc:sldMkLst>
        <pc:spChg chg="mod">
          <ac:chgData name="Bjarne Stavnshøj" userId="ab6928f3-1e8f-4bd8-aa0d-edf50dc48c3d" providerId="ADAL" clId="{34FAB2B0-3E0F-4780-982C-D5AA67AFA08B}" dt="2025-04-14T12:33:25.699" v="1819" actId="20577"/>
          <ac:spMkLst>
            <pc:docMk/>
            <pc:sldMk cId="4179408957" sldId="2632"/>
            <ac:spMk id="2" creationId="{92F6208E-9313-B8B5-CA1F-EEF884ECEAF2}"/>
          </ac:spMkLst>
        </pc:spChg>
        <pc:spChg chg="del">
          <ac:chgData name="Bjarne Stavnshøj" userId="ab6928f3-1e8f-4bd8-aa0d-edf50dc48c3d" providerId="ADAL" clId="{34FAB2B0-3E0F-4780-982C-D5AA67AFA08B}" dt="2025-04-14T13:27:01.994" v="2242" actId="478"/>
          <ac:spMkLst>
            <pc:docMk/>
            <pc:sldMk cId="4179408957" sldId="2632"/>
            <ac:spMk id="3" creationId="{73E6C46D-F2FA-B2C5-12C1-BACE0103A147}"/>
          </ac:spMkLst>
        </pc:spChg>
      </pc:sldChg>
      <pc:sldChg chg="addSp delSp modSp mod modNotesTx">
        <pc:chgData name="Bjarne Stavnshøj" userId="ab6928f3-1e8f-4bd8-aa0d-edf50dc48c3d" providerId="ADAL" clId="{34FAB2B0-3E0F-4780-982C-D5AA67AFA08B}" dt="2025-04-14T13:48:30.746" v="2715" actId="20577"/>
        <pc:sldMkLst>
          <pc:docMk/>
          <pc:sldMk cId="3319088321" sldId="2633"/>
        </pc:sldMkLst>
        <pc:spChg chg="del">
          <ac:chgData name="Bjarne Stavnshøj" userId="ab6928f3-1e8f-4bd8-aa0d-edf50dc48c3d" providerId="ADAL" clId="{34FAB2B0-3E0F-4780-982C-D5AA67AFA08B}" dt="2025-04-14T13:27:06.630" v="2243" actId="478"/>
          <ac:spMkLst>
            <pc:docMk/>
            <pc:sldMk cId="3319088321" sldId="2633"/>
            <ac:spMk id="8" creationId="{14921F3A-D4C9-CD57-A5AE-FB44326AC61B}"/>
          </ac:spMkLst>
        </pc:spChg>
        <pc:picChg chg="add mod">
          <ac:chgData name="Bjarne Stavnshøj" userId="ab6928f3-1e8f-4bd8-aa0d-edf50dc48c3d" providerId="ADAL" clId="{34FAB2B0-3E0F-4780-982C-D5AA67AFA08B}" dt="2025-04-14T12:40:33.911" v="1889" actId="1038"/>
          <ac:picMkLst>
            <pc:docMk/>
            <pc:sldMk cId="3319088321" sldId="2633"/>
            <ac:picMk id="6" creationId="{BBC180C2-F580-D644-E780-58D9F5D06137}"/>
          </ac:picMkLst>
        </pc:picChg>
        <pc:picChg chg="mod">
          <ac:chgData name="Bjarne Stavnshøj" userId="ab6928f3-1e8f-4bd8-aa0d-edf50dc48c3d" providerId="ADAL" clId="{34FAB2B0-3E0F-4780-982C-D5AA67AFA08B}" dt="2025-04-14T12:40:20.029" v="1879" actId="1038"/>
          <ac:picMkLst>
            <pc:docMk/>
            <pc:sldMk cId="3319088321" sldId="2633"/>
            <ac:picMk id="10" creationId="{5F033CFD-3C55-8E9B-4D17-E8D66D843470}"/>
          </ac:picMkLst>
        </pc:picChg>
      </pc:sldChg>
      <pc:sldChg chg="delSp mod">
        <pc:chgData name="Bjarne Stavnshøj" userId="ab6928f3-1e8f-4bd8-aa0d-edf50dc48c3d" providerId="ADAL" clId="{34FAB2B0-3E0F-4780-982C-D5AA67AFA08B}" dt="2025-04-14T13:26:42.067" v="2239" actId="478"/>
        <pc:sldMkLst>
          <pc:docMk/>
          <pc:sldMk cId="2737003815" sldId="2637"/>
        </pc:sldMkLst>
        <pc:spChg chg="del">
          <ac:chgData name="Bjarne Stavnshøj" userId="ab6928f3-1e8f-4bd8-aa0d-edf50dc48c3d" providerId="ADAL" clId="{34FAB2B0-3E0F-4780-982C-D5AA67AFA08B}" dt="2025-04-14T13:26:42.067" v="2239" actId="478"/>
          <ac:spMkLst>
            <pc:docMk/>
            <pc:sldMk cId="2737003815" sldId="2637"/>
            <ac:spMk id="3" creationId="{14C5375F-00AB-F2FC-8C40-EAA2C837F9B1}"/>
          </ac:spMkLst>
        </pc:spChg>
      </pc:sldChg>
      <pc:sldChg chg="delSp modSp mod">
        <pc:chgData name="Bjarne Stavnshøj" userId="ab6928f3-1e8f-4bd8-aa0d-edf50dc48c3d" providerId="ADAL" clId="{34FAB2B0-3E0F-4780-982C-D5AA67AFA08B}" dt="2025-04-14T12:51:53.212" v="2102" actId="20577"/>
        <pc:sldMkLst>
          <pc:docMk/>
          <pc:sldMk cId="1665020918" sldId="2648"/>
        </pc:sldMkLst>
        <pc:spChg chg="del mod">
          <ac:chgData name="Bjarne Stavnshøj" userId="ab6928f3-1e8f-4bd8-aa0d-edf50dc48c3d" providerId="ADAL" clId="{34FAB2B0-3E0F-4780-982C-D5AA67AFA08B}" dt="2025-04-14T12:51:45.885" v="2101" actId="478"/>
          <ac:spMkLst>
            <pc:docMk/>
            <pc:sldMk cId="1665020918" sldId="2648"/>
            <ac:spMk id="2" creationId="{D36452D5-DF2F-2024-BDBC-E1133FBCA8DF}"/>
          </ac:spMkLst>
        </pc:spChg>
        <pc:spChg chg="mod">
          <ac:chgData name="Bjarne Stavnshøj" userId="ab6928f3-1e8f-4bd8-aa0d-edf50dc48c3d" providerId="ADAL" clId="{34FAB2B0-3E0F-4780-982C-D5AA67AFA08B}" dt="2025-04-14T12:51:53.212" v="2102" actId="20577"/>
          <ac:spMkLst>
            <pc:docMk/>
            <pc:sldMk cId="1665020918" sldId="2648"/>
            <ac:spMk id="6" creationId="{834292C9-6C34-CF24-06EE-975C27CF428D}"/>
          </ac:spMkLst>
        </pc:spChg>
      </pc:sldChg>
      <pc:sldChg chg="modNotesTx">
        <pc:chgData name="Bjarne Stavnshøj" userId="ab6928f3-1e8f-4bd8-aa0d-edf50dc48c3d" providerId="ADAL" clId="{34FAB2B0-3E0F-4780-982C-D5AA67AFA08B}" dt="2025-04-14T13:54:32.720" v="2898" actId="20577"/>
        <pc:sldMkLst>
          <pc:docMk/>
          <pc:sldMk cId="3653360887" sldId="2649"/>
        </pc:sldMkLst>
      </pc:sldChg>
      <pc:sldChg chg="delSp mod modNotesTx">
        <pc:chgData name="Bjarne Stavnshøj" userId="ab6928f3-1e8f-4bd8-aa0d-edf50dc48c3d" providerId="ADAL" clId="{34FAB2B0-3E0F-4780-982C-D5AA67AFA08B}" dt="2025-04-14T13:25:16.761" v="2228" actId="478"/>
        <pc:sldMkLst>
          <pc:docMk/>
          <pc:sldMk cId="705229058" sldId="2651"/>
        </pc:sldMkLst>
        <pc:spChg chg="del">
          <ac:chgData name="Bjarne Stavnshøj" userId="ab6928f3-1e8f-4bd8-aa0d-edf50dc48c3d" providerId="ADAL" clId="{34FAB2B0-3E0F-4780-982C-D5AA67AFA08B}" dt="2025-04-14T13:25:16.761" v="2228" actId="478"/>
          <ac:spMkLst>
            <pc:docMk/>
            <pc:sldMk cId="705229058" sldId="2651"/>
            <ac:spMk id="3" creationId="{ADB11A05-7B2B-F3BA-2A85-AF721EB206A9}"/>
          </ac:spMkLst>
        </pc:spChg>
      </pc:sldChg>
      <pc:sldChg chg="delSp mod modNotesTx">
        <pc:chgData name="Bjarne Stavnshøj" userId="ab6928f3-1e8f-4bd8-aa0d-edf50dc48c3d" providerId="ADAL" clId="{34FAB2B0-3E0F-4780-982C-D5AA67AFA08B}" dt="2025-04-14T13:26:34.137" v="2238" actId="478"/>
        <pc:sldMkLst>
          <pc:docMk/>
          <pc:sldMk cId="2471625188" sldId="2657"/>
        </pc:sldMkLst>
        <pc:spChg chg="del">
          <ac:chgData name="Bjarne Stavnshøj" userId="ab6928f3-1e8f-4bd8-aa0d-edf50dc48c3d" providerId="ADAL" clId="{34FAB2B0-3E0F-4780-982C-D5AA67AFA08B}" dt="2025-04-14T13:26:34.137" v="2238" actId="478"/>
          <ac:spMkLst>
            <pc:docMk/>
            <pc:sldMk cId="2471625188" sldId="2657"/>
            <ac:spMk id="4" creationId="{B227DA4C-07C9-65A9-8D73-E443358CF33E}"/>
          </ac:spMkLst>
        </pc:spChg>
      </pc:sldChg>
      <pc:sldChg chg="delSp mod">
        <pc:chgData name="Bjarne Stavnshøj" userId="ab6928f3-1e8f-4bd8-aa0d-edf50dc48c3d" providerId="ADAL" clId="{34FAB2B0-3E0F-4780-982C-D5AA67AFA08B}" dt="2025-04-14T13:27:20.749" v="2244" actId="478"/>
        <pc:sldMkLst>
          <pc:docMk/>
          <pc:sldMk cId="2796669467" sldId="2658"/>
        </pc:sldMkLst>
        <pc:spChg chg="del">
          <ac:chgData name="Bjarne Stavnshøj" userId="ab6928f3-1e8f-4bd8-aa0d-edf50dc48c3d" providerId="ADAL" clId="{34FAB2B0-3E0F-4780-982C-D5AA67AFA08B}" dt="2025-04-14T13:27:20.749" v="2244" actId="478"/>
          <ac:spMkLst>
            <pc:docMk/>
            <pc:sldMk cId="2796669467" sldId="2658"/>
            <ac:spMk id="3" creationId="{7B2EC61D-2695-E1A5-A793-C8002C8C4EBC}"/>
          </ac:spMkLst>
        </pc:spChg>
      </pc:sldChg>
      <pc:sldChg chg="delSp mod">
        <pc:chgData name="Bjarne Stavnshøj" userId="ab6928f3-1e8f-4bd8-aa0d-edf50dc48c3d" providerId="ADAL" clId="{34FAB2B0-3E0F-4780-982C-D5AA67AFA08B}" dt="2025-04-14T13:26:49.675" v="2240" actId="478"/>
        <pc:sldMkLst>
          <pc:docMk/>
          <pc:sldMk cId="966246587" sldId="2660"/>
        </pc:sldMkLst>
        <pc:spChg chg="del">
          <ac:chgData name="Bjarne Stavnshøj" userId="ab6928f3-1e8f-4bd8-aa0d-edf50dc48c3d" providerId="ADAL" clId="{34FAB2B0-3E0F-4780-982C-D5AA67AFA08B}" dt="2025-04-14T13:26:49.675" v="2240" actId="478"/>
          <ac:spMkLst>
            <pc:docMk/>
            <pc:sldMk cId="966246587" sldId="2660"/>
            <ac:spMk id="2" creationId="{0FF4E224-1B5A-05B9-817B-B959323FA0F2}"/>
          </ac:spMkLst>
        </pc:spChg>
      </pc:sldChg>
      <pc:sldChg chg="delSp mod">
        <pc:chgData name="Bjarne Stavnshøj" userId="ab6928f3-1e8f-4bd8-aa0d-edf50dc48c3d" providerId="ADAL" clId="{34FAB2B0-3E0F-4780-982C-D5AA67AFA08B}" dt="2025-04-14T13:27:40.606" v="2247" actId="478"/>
        <pc:sldMkLst>
          <pc:docMk/>
          <pc:sldMk cId="3078483824" sldId="2661"/>
        </pc:sldMkLst>
        <pc:spChg chg="del">
          <ac:chgData name="Bjarne Stavnshøj" userId="ab6928f3-1e8f-4bd8-aa0d-edf50dc48c3d" providerId="ADAL" clId="{34FAB2B0-3E0F-4780-982C-D5AA67AFA08B}" dt="2025-04-14T13:27:40.606" v="2247" actId="478"/>
          <ac:spMkLst>
            <pc:docMk/>
            <pc:sldMk cId="3078483824" sldId="2661"/>
            <ac:spMk id="2" creationId="{4462F977-152A-FAEF-78F3-0D0D68A18BEE}"/>
          </ac:spMkLst>
        </pc:spChg>
      </pc:sldChg>
      <pc:sldChg chg="delSp mod">
        <pc:chgData name="Bjarne Stavnshøj" userId="ab6928f3-1e8f-4bd8-aa0d-edf50dc48c3d" providerId="ADAL" clId="{34FAB2B0-3E0F-4780-982C-D5AA67AFA08B}" dt="2025-04-14T13:27:56.543" v="2249" actId="478"/>
        <pc:sldMkLst>
          <pc:docMk/>
          <pc:sldMk cId="2653609844" sldId="2662"/>
        </pc:sldMkLst>
        <pc:spChg chg="del">
          <ac:chgData name="Bjarne Stavnshøj" userId="ab6928f3-1e8f-4bd8-aa0d-edf50dc48c3d" providerId="ADAL" clId="{34FAB2B0-3E0F-4780-982C-D5AA67AFA08B}" dt="2025-04-14T13:27:56.543" v="2249" actId="478"/>
          <ac:spMkLst>
            <pc:docMk/>
            <pc:sldMk cId="2653609844" sldId="2662"/>
            <ac:spMk id="2" creationId="{D55D6AB8-5BBD-D180-343C-9D58973B7BB1}"/>
          </ac:spMkLst>
        </pc:spChg>
      </pc:sldChg>
      <pc:sldChg chg="delSp mod">
        <pc:chgData name="Bjarne Stavnshøj" userId="ab6928f3-1e8f-4bd8-aa0d-edf50dc48c3d" providerId="ADAL" clId="{34FAB2B0-3E0F-4780-982C-D5AA67AFA08B}" dt="2025-04-14T13:26:27.903" v="2237" actId="478"/>
        <pc:sldMkLst>
          <pc:docMk/>
          <pc:sldMk cId="3748298466" sldId="2663"/>
        </pc:sldMkLst>
        <pc:spChg chg="del">
          <ac:chgData name="Bjarne Stavnshøj" userId="ab6928f3-1e8f-4bd8-aa0d-edf50dc48c3d" providerId="ADAL" clId="{34FAB2B0-3E0F-4780-982C-D5AA67AFA08B}" dt="2025-04-14T13:26:27.903" v="2237" actId="478"/>
          <ac:spMkLst>
            <pc:docMk/>
            <pc:sldMk cId="3748298466" sldId="2663"/>
            <ac:spMk id="5" creationId="{0D8AD615-3967-A2DD-73C9-A0206592719A}"/>
          </ac:spMkLst>
        </pc:spChg>
      </pc:sldChg>
      <pc:sldChg chg="delSp mod modNotesTx">
        <pc:chgData name="Bjarne Stavnshøj" userId="ab6928f3-1e8f-4bd8-aa0d-edf50dc48c3d" providerId="ADAL" clId="{34FAB2B0-3E0F-4780-982C-D5AA67AFA08B}" dt="2025-04-14T13:26:18.690" v="2236" actId="478"/>
        <pc:sldMkLst>
          <pc:docMk/>
          <pc:sldMk cId="2525507381" sldId="2664"/>
        </pc:sldMkLst>
        <pc:spChg chg="del">
          <ac:chgData name="Bjarne Stavnshøj" userId="ab6928f3-1e8f-4bd8-aa0d-edf50dc48c3d" providerId="ADAL" clId="{34FAB2B0-3E0F-4780-982C-D5AA67AFA08B}" dt="2025-04-14T13:26:18.690" v="2236" actId="478"/>
          <ac:spMkLst>
            <pc:docMk/>
            <pc:sldMk cId="2525507381" sldId="2664"/>
            <ac:spMk id="2" creationId="{DB298AE7-5326-06FD-1874-529631AC3510}"/>
          </ac:spMkLst>
        </pc:spChg>
      </pc:sldChg>
      <pc:sldChg chg="delSp mod">
        <pc:chgData name="Bjarne Stavnshøj" userId="ab6928f3-1e8f-4bd8-aa0d-edf50dc48c3d" providerId="ADAL" clId="{34FAB2B0-3E0F-4780-982C-D5AA67AFA08B}" dt="2025-04-14T13:28:16.648" v="2252" actId="478"/>
        <pc:sldMkLst>
          <pc:docMk/>
          <pc:sldMk cId="264739861" sldId="2665"/>
        </pc:sldMkLst>
        <pc:spChg chg="del">
          <ac:chgData name="Bjarne Stavnshøj" userId="ab6928f3-1e8f-4bd8-aa0d-edf50dc48c3d" providerId="ADAL" clId="{34FAB2B0-3E0F-4780-982C-D5AA67AFA08B}" dt="2025-04-14T13:28:16.648" v="2252" actId="478"/>
          <ac:spMkLst>
            <pc:docMk/>
            <pc:sldMk cId="264739861" sldId="2665"/>
            <ac:spMk id="2" creationId="{D0150FEC-1F9B-9116-CD84-EC7E9451E220}"/>
          </ac:spMkLst>
        </pc:spChg>
      </pc:sldChg>
      <pc:sldChg chg="delSp mod">
        <pc:chgData name="Bjarne Stavnshøj" userId="ab6928f3-1e8f-4bd8-aa0d-edf50dc48c3d" providerId="ADAL" clId="{34FAB2B0-3E0F-4780-982C-D5AA67AFA08B}" dt="2025-04-14T13:27:50.171" v="2248" actId="478"/>
        <pc:sldMkLst>
          <pc:docMk/>
          <pc:sldMk cId="1474535434" sldId="2666"/>
        </pc:sldMkLst>
        <pc:spChg chg="del">
          <ac:chgData name="Bjarne Stavnshøj" userId="ab6928f3-1e8f-4bd8-aa0d-edf50dc48c3d" providerId="ADAL" clId="{34FAB2B0-3E0F-4780-982C-D5AA67AFA08B}" dt="2025-04-14T13:27:50.171" v="2248" actId="478"/>
          <ac:spMkLst>
            <pc:docMk/>
            <pc:sldMk cId="1474535434" sldId="2666"/>
            <ac:spMk id="2" creationId="{0E72EB5F-52EE-6DF4-3E5D-2783DD2245B0}"/>
          </ac:spMkLst>
        </pc:spChg>
      </pc:sldChg>
      <pc:sldChg chg="del">
        <pc:chgData name="Bjarne Stavnshøj" userId="ab6928f3-1e8f-4bd8-aa0d-edf50dc48c3d" providerId="ADAL" clId="{34FAB2B0-3E0F-4780-982C-D5AA67AFA08B}" dt="2025-04-14T12:44:40.501" v="2095" actId="47"/>
        <pc:sldMkLst>
          <pc:docMk/>
          <pc:sldMk cId="2257185411" sldId="2667"/>
        </pc:sldMkLst>
      </pc:sldChg>
      <pc:sldChg chg="delSp mod">
        <pc:chgData name="Bjarne Stavnshøj" userId="ab6928f3-1e8f-4bd8-aa0d-edf50dc48c3d" providerId="ADAL" clId="{34FAB2B0-3E0F-4780-982C-D5AA67AFA08B}" dt="2025-04-14T13:24:34.867" v="2224" actId="478"/>
        <pc:sldMkLst>
          <pc:docMk/>
          <pc:sldMk cId="4092561790" sldId="2669"/>
        </pc:sldMkLst>
        <pc:spChg chg="del">
          <ac:chgData name="Bjarne Stavnshøj" userId="ab6928f3-1e8f-4bd8-aa0d-edf50dc48c3d" providerId="ADAL" clId="{34FAB2B0-3E0F-4780-982C-D5AA67AFA08B}" dt="2025-04-14T13:24:34.867" v="2224" actId="478"/>
          <ac:spMkLst>
            <pc:docMk/>
            <pc:sldMk cId="4092561790" sldId="2669"/>
            <ac:spMk id="3" creationId="{0C13A998-5EB1-B120-F4EA-132309E9BBC2}"/>
          </ac:spMkLst>
        </pc:spChg>
      </pc:sldChg>
      <pc:sldChg chg="delSp mod">
        <pc:chgData name="Bjarne Stavnshøj" userId="ab6928f3-1e8f-4bd8-aa0d-edf50dc48c3d" providerId="ADAL" clId="{34FAB2B0-3E0F-4780-982C-D5AA67AFA08B}" dt="2025-04-14T13:25:22.995" v="2229" actId="478"/>
        <pc:sldMkLst>
          <pc:docMk/>
          <pc:sldMk cId="230245937" sldId="2673"/>
        </pc:sldMkLst>
        <pc:spChg chg="del">
          <ac:chgData name="Bjarne Stavnshøj" userId="ab6928f3-1e8f-4bd8-aa0d-edf50dc48c3d" providerId="ADAL" clId="{34FAB2B0-3E0F-4780-982C-D5AA67AFA08B}" dt="2025-04-14T13:25:22.995" v="2229" actId="478"/>
          <ac:spMkLst>
            <pc:docMk/>
            <pc:sldMk cId="230245937" sldId="2673"/>
            <ac:spMk id="3" creationId="{15FD464E-BEE4-B2E2-40F0-597481910C18}"/>
          </ac:spMkLst>
        </pc:spChg>
      </pc:sldChg>
      <pc:sldChg chg="delSp modSp mod modNotesTx">
        <pc:chgData name="Bjarne Stavnshøj" userId="ab6928f3-1e8f-4bd8-aa0d-edf50dc48c3d" providerId="ADAL" clId="{34FAB2B0-3E0F-4780-982C-D5AA67AFA08B}" dt="2025-04-14T13:25:55.353" v="2233" actId="478"/>
        <pc:sldMkLst>
          <pc:docMk/>
          <pc:sldMk cId="2284727122" sldId="2676"/>
        </pc:sldMkLst>
        <pc:spChg chg="del">
          <ac:chgData name="Bjarne Stavnshøj" userId="ab6928f3-1e8f-4bd8-aa0d-edf50dc48c3d" providerId="ADAL" clId="{34FAB2B0-3E0F-4780-982C-D5AA67AFA08B}" dt="2025-04-14T13:25:55.353" v="2233" actId="478"/>
          <ac:spMkLst>
            <pc:docMk/>
            <pc:sldMk cId="2284727122" sldId="2676"/>
            <ac:spMk id="6" creationId="{FA521D4C-3D9E-C170-CFA6-BB57F1FD18BD}"/>
          </ac:spMkLst>
        </pc:spChg>
        <pc:graphicFrameChg chg="modGraphic">
          <ac:chgData name="Bjarne Stavnshøj" userId="ab6928f3-1e8f-4bd8-aa0d-edf50dc48c3d" providerId="ADAL" clId="{34FAB2B0-3E0F-4780-982C-D5AA67AFA08B}" dt="2025-04-14T12:19:29.110" v="1432" actId="20577"/>
          <ac:graphicFrameMkLst>
            <pc:docMk/>
            <pc:sldMk cId="2284727122" sldId="2676"/>
            <ac:graphicFrameMk id="5" creationId="{D27E5886-4EA5-38CC-5D3A-CE35D1D6C59C}"/>
          </ac:graphicFrameMkLst>
        </pc:graphicFrameChg>
      </pc:sldChg>
      <pc:sldChg chg="delSp mod modNotesTx">
        <pc:chgData name="Bjarne Stavnshøj" userId="ab6928f3-1e8f-4bd8-aa0d-edf50dc48c3d" providerId="ADAL" clId="{34FAB2B0-3E0F-4780-982C-D5AA67AFA08B}" dt="2025-04-14T13:25:46.583" v="2232" actId="478"/>
        <pc:sldMkLst>
          <pc:docMk/>
          <pc:sldMk cId="2475713615" sldId="2682"/>
        </pc:sldMkLst>
        <pc:spChg chg="del">
          <ac:chgData name="Bjarne Stavnshøj" userId="ab6928f3-1e8f-4bd8-aa0d-edf50dc48c3d" providerId="ADAL" clId="{34FAB2B0-3E0F-4780-982C-D5AA67AFA08B}" dt="2025-04-14T13:25:46.583" v="2232" actId="478"/>
          <ac:spMkLst>
            <pc:docMk/>
            <pc:sldMk cId="2475713615" sldId="2682"/>
            <ac:spMk id="8" creationId="{F6C26F75-12BE-F2BD-1910-EDADE7274518}"/>
          </ac:spMkLst>
        </pc:spChg>
      </pc:sldChg>
      <pc:sldChg chg="delSp modSp mod">
        <pc:chgData name="Bjarne Stavnshøj" userId="ab6928f3-1e8f-4bd8-aa0d-edf50dc48c3d" providerId="ADAL" clId="{34FAB2B0-3E0F-4780-982C-D5AA67AFA08B}" dt="2025-04-14T13:25:40.448" v="2231" actId="478"/>
        <pc:sldMkLst>
          <pc:docMk/>
          <pc:sldMk cId="3224004655" sldId="2683"/>
        </pc:sldMkLst>
        <pc:spChg chg="del">
          <ac:chgData name="Bjarne Stavnshøj" userId="ab6928f3-1e8f-4bd8-aa0d-edf50dc48c3d" providerId="ADAL" clId="{34FAB2B0-3E0F-4780-982C-D5AA67AFA08B}" dt="2025-04-14T13:25:40.448" v="2231" actId="478"/>
          <ac:spMkLst>
            <pc:docMk/>
            <pc:sldMk cId="3224004655" sldId="2683"/>
            <ac:spMk id="4" creationId="{F3300C41-10CB-6B8B-6567-6C82AD7FEB02}"/>
          </ac:spMkLst>
        </pc:spChg>
        <pc:spChg chg="mod">
          <ac:chgData name="Bjarne Stavnshøj" userId="ab6928f3-1e8f-4bd8-aa0d-edf50dc48c3d" providerId="ADAL" clId="{34FAB2B0-3E0F-4780-982C-D5AA67AFA08B}" dt="2025-04-04T12:32:30.993" v="2" actId="20577"/>
          <ac:spMkLst>
            <pc:docMk/>
            <pc:sldMk cId="3224004655" sldId="2683"/>
            <ac:spMk id="45" creationId="{7DDE22BD-BB53-4025-A4D8-543AD49E85BB}"/>
          </ac:spMkLst>
        </pc:spChg>
      </pc:sldChg>
      <pc:sldChg chg="delSp mod">
        <pc:chgData name="Bjarne Stavnshøj" userId="ab6928f3-1e8f-4bd8-aa0d-edf50dc48c3d" providerId="ADAL" clId="{34FAB2B0-3E0F-4780-982C-D5AA67AFA08B}" dt="2025-04-14T13:25:30.862" v="2230" actId="478"/>
        <pc:sldMkLst>
          <pc:docMk/>
          <pc:sldMk cId="1907178987" sldId="2684"/>
        </pc:sldMkLst>
        <pc:spChg chg="del">
          <ac:chgData name="Bjarne Stavnshøj" userId="ab6928f3-1e8f-4bd8-aa0d-edf50dc48c3d" providerId="ADAL" clId="{34FAB2B0-3E0F-4780-982C-D5AA67AFA08B}" dt="2025-04-14T13:25:30.862" v="2230" actId="478"/>
          <ac:spMkLst>
            <pc:docMk/>
            <pc:sldMk cId="1907178987" sldId="2684"/>
            <ac:spMk id="3" creationId="{5B81D598-B531-F411-BD26-BAF1AD16407B}"/>
          </ac:spMkLst>
        </pc:spChg>
      </pc:sldChg>
      <pc:sldChg chg="modNotesTx">
        <pc:chgData name="Bjarne Stavnshøj" userId="ab6928f3-1e8f-4bd8-aa0d-edf50dc48c3d" providerId="ADAL" clId="{34FAB2B0-3E0F-4780-982C-D5AA67AFA08B}" dt="2025-04-14T12:25:55.733" v="1636" actId="20577"/>
        <pc:sldMkLst>
          <pc:docMk/>
          <pc:sldMk cId="486444919" sldId="2685"/>
        </pc:sldMkLst>
      </pc:sldChg>
      <pc:sldMasterChg chg="delSp modSp mod modSldLayout">
        <pc:chgData name="Bjarne Stavnshøj" userId="ab6928f3-1e8f-4bd8-aa0d-edf50dc48c3d" providerId="ADAL" clId="{34FAB2B0-3E0F-4780-982C-D5AA67AFA08B}" dt="2025-04-14T13:21:59.493" v="2222" actId="478"/>
        <pc:sldMasterMkLst>
          <pc:docMk/>
          <pc:sldMasterMk cId="290811864" sldId="2147483648"/>
        </pc:sldMasterMkLst>
        <pc:spChg chg="mod">
          <ac:chgData name="Bjarne Stavnshøj" userId="ab6928f3-1e8f-4bd8-aa0d-edf50dc48c3d" providerId="ADAL" clId="{34FAB2B0-3E0F-4780-982C-D5AA67AFA08B}" dt="2025-04-14T13:17:40.329" v="2206" actId="14100"/>
          <ac:spMkLst>
            <pc:docMk/>
            <pc:sldMasterMk cId="290811864" sldId="2147483648"/>
            <ac:spMk id="5" creationId="{BA706337-FF39-452E-8616-917F4FB82A5A}"/>
          </ac:spMkLst>
        </pc:spChg>
        <pc:spChg chg="del mod">
          <ac:chgData name="Bjarne Stavnshøj" userId="ab6928f3-1e8f-4bd8-aa0d-edf50dc48c3d" providerId="ADAL" clId="{34FAB2B0-3E0F-4780-982C-D5AA67AFA08B}" dt="2025-04-14T13:17:29.814" v="2205" actId="478"/>
          <ac:spMkLst>
            <pc:docMk/>
            <pc:sldMasterMk cId="290811864" sldId="2147483648"/>
            <ac:spMk id="6" creationId="{712D3309-6954-413D-B298-742741EAB476}"/>
          </ac:spMkLst>
        </pc:spChg>
        <pc:sldLayoutChg chg="delSp modSp mod">
          <pc:chgData name="Bjarne Stavnshøj" userId="ab6928f3-1e8f-4bd8-aa0d-edf50dc48c3d" providerId="ADAL" clId="{34FAB2B0-3E0F-4780-982C-D5AA67AFA08B}" dt="2025-04-14T13:16:50.622" v="2201" actId="478"/>
          <pc:sldLayoutMkLst>
            <pc:docMk/>
            <pc:sldMasterMk cId="290811864" sldId="2147483648"/>
            <pc:sldLayoutMk cId="2131467446" sldId="2147483649"/>
          </pc:sldLayoutMkLst>
          <pc:spChg chg="del mod">
            <ac:chgData name="Bjarne Stavnshøj" userId="ab6928f3-1e8f-4bd8-aa0d-edf50dc48c3d" providerId="ADAL" clId="{34FAB2B0-3E0F-4780-982C-D5AA67AFA08B}" dt="2025-04-14T13:16:50.622" v="2201" actId="478"/>
            <ac:spMkLst>
              <pc:docMk/>
              <pc:sldMasterMk cId="290811864" sldId="2147483648"/>
              <pc:sldLayoutMk cId="2131467446" sldId="2147483649"/>
              <ac:spMk id="6" creationId="{BED8B241-C616-4EA6-A126-20070BDA625B}"/>
            </ac:spMkLst>
          </pc:spChg>
        </pc:sldLayoutChg>
        <pc:sldLayoutChg chg="addSp delSp modSp mod">
          <pc:chgData name="Bjarne Stavnshøj" userId="ab6928f3-1e8f-4bd8-aa0d-edf50dc48c3d" providerId="ADAL" clId="{34FAB2B0-3E0F-4780-982C-D5AA67AFA08B}" dt="2025-04-14T13:16:42.758" v="2200" actId="478"/>
          <pc:sldLayoutMkLst>
            <pc:docMk/>
            <pc:sldMasterMk cId="290811864" sldId="2147483648"/>
            <pc:sldLayoutMk cId="2984506660" sldId="2147483650"/>
          </pc:sldLayoutMkLst>
          <pc:spChg chg="add del mod">
            <ac:chgData name="Bjarne Stavnshøj" userId="ab6928f3-1e8f-4bd8-aa0d-edf50dc48c3d" providerId="ADAL" clId="{34FAB2B0-3E0F-4780-982C-D5AA67AFA08B}" dt="2025-04-14T13:09:53.287" v="2157" actId="478"/>
            <ac:spMkLst>
              <pc:docMk/>
              <pc:sldMasterMk cId="290811864" sldId="2147483648"/>
              <pc:sldLayoutMk cId="2984506660" sldId="2147483650"/>
              <ac:spMk id="4" creationId="{9D711A23-5660-AC59-219E-ADC1E72AD85B}"/>
            </ac:spMkLst>
          </pc:spChg>
          <pc:spChg chg="mod">
            <ac:chgData name="Bjarne Stavnshøj" userId="ab6928f3-1e8f-4bd8-aa0d-edf50dc48c3d" providerId="ADAL" clId="{34FAB2B0-3E0F-4780-982C-D5AA67AFA08B}" dt="2025-04-14T13:10:45.737" v="2177" actId="14100"/>
            <ac:spMkLst>
              <pc:docMk/>
              <pc:sldMasterMk cId="290811864" sldId="2147483648"/>
              <pc:sldLayoutMk cId="2984506660" sldId="2147483650"/>
              <ac:spMk id="5" creationId="{BFBC7653-9D7F-4D65-8B56-F40A0F6DFFB6}"/>
            </ac:spMkLst>
          </pc:spChg>
          <pc:spChg chg="del mod">
            <ac:chgData name="Bjarne Stavnshøj" userId="ab6928f3-1e8f-4bd8-aa0d-edf50dc48c3d" providerId="ADAL" clId="{34FAB2B0-3E0F-4780-982C-D5AA67AFA08B}" dt="2025-04-14T13:16:42.758" v="2200" actId="478"/>
            <ac:spMkLst>
              <pc:docMk/>
              <pc:sldMasterMk cId="290811864" sldId="2147483648"/>
              <pc:sldLayoutMk cId="2984506660" sldId="2147483650"/>
              <ac:spMk id="6" creationId="{2C442DD6-30A8-40BD-B9AC-384E134E8004}"/>
            </ac:spMkLst>
          </pc:spChg>
        </pc:sldLayoutChg>
        <pc:sldLayoutChg chg="delSp mod">
          <pc:chgData name="Bjarne Stavnshøj" userId="ab6928f3-1e8f-4bd8-aa0d-edf50dc48c3d" providerId="ADAL" clId="{34FAB2B0-3E0F-4780-982C-D5AA67AFA08B}" dt="2025-04-14T13:20:13.218" v="2209" actId="478"/>
          <pc:sldLayoutMkLst>
            <pc:docMk/>
            <pc:sldMasterMk cId="290811864" sldId="2147483648"/>
            <pc:sldLayoutMk cId="2258822225" sldId="2147483652"/>
          </pc:sldLayoutMkLst>
          <pc:spChg chg="del">
            <ac:chgData name="Bjarne Stavnshøj" userId="ab6928f3-1e8f-4bd8-aa0d-edf50dc48c3d" providerId="ADAL" clId="{34FAB2B0-3E0F-4780-982C-D5AA67AFA08B}" dt="2025-04-14T13:20:13.218" v="2209" actId="478"/>
            <ac:spMkLst>
              <pc:docMk/>
              <pc:sldMasterMk cId="290811864" sldId="2147483648"/>
              <pc:sldLayoutMk cId="2258822225" sldId="2147483652"/>
              <ac:spMk id="7" creationId="{8A9072FD-E5E2-4D12-B55B-F6EC927B1E69}"/>
            </ac:spMkLst>
          </pc:spChg>
        </pc:sldLayoutChg>
        <pc:sldLayoutChg chg="delSp modSp mod">
          <pc:chgData name="Bjarne Stavnshøj" userId="ab6928f3-1e8f-4bd8-aa0d-edf50dc48c3d" providerId="ADAL" clId="{34FAB2B0-3E0F-4780-982C-D5AA67AFA08B}" dt="2025-04-14T13:20:43.045" v="2214" actId="478"/>
          <pc:sldLayoutMkLst>
            <pc:docMk/>
            <pc:sldMasterMk cId="290811864" sldId="2147483648"/>
            <pc:sldLayoutMk cId="1341059907" sldId="2147483653"/>
          </pc:sldLayoutMkLst>
          <pc:spChg chg="del">
            <ac:chgData name="Bjarne Stavnshøj" userId="ab6928f3-1e8f-4bd8-aa0d-edf50dc48c3d" providerId="ADAL" clId="{34FAB2B0-3E0F-4780-982C-D5AA67AFA08B}" dt="2025-04-14T13:20:43.045" v="2214" actId="478"/>
            <ac:spMkLst>
              <pc:docMk/>
              <pc:sldMasterMk cId="290811864" sldId="2147483648"/>
              <pc:sldLayoutMk cId="1341059907" sldId="2147483653"/>
              <ac:spMk id="9" creationId="{0F26E3AF-16EE-45C9-9BD9-158B00D35984}"/>
            </ac:spMkLst>
          </pc:spChg>
        </pc:sldLayoutChg>
        <pc:sldLayoutChg chg="delSp mod">
          <pc:chgData name="Bjarne Stavnshøj" userId="ab6928f3-1e8f-4bd8-aa0d-edf50dc48c3d" providerId="ADAL" clId="{34FAB2B0-3E0F-4780-982C-D5AA67AFA08B}" dt="2025-04-14T13:21:02.671" v="2216" actId="478"/>
          <pc:sldLayoutMkLst>
            <pc:docMk/>
            <pc:sldMasterMk cId="290811864" sldId="2147483648"/>
            <pc:sldLayoutMk cId="73836125" sldId="2147483654"/>
          </pc:sldLayoutMkLst>
          <pc:spChg chg="del">
            <ac:chgData name="Bjarne Stavnshøj" userId="ab6928f3-1e8f-4bd8-aa0d-edf50dc48c3d" providerId="ADAL" clId="{34FAB2B0-3E0F-4780-982C-D5AA67AFA08B}" dt="2025-04-14T13:21:02.671" v="2216" actId="478"/>
            <ac:spMkLst>
              <pc:docMk/>
              <pc:sldMasterMk cId="290811864" sldId="2147483648"/>
              <pc:sldLayoutMk cId="73836125" sldId="2147483654"/>
              <ac:spMk id="5" creationId="{8E600EB8-6302-4AE6-9D81-F6C9C776C830}"/>
            </ac:spMkLst>
          </pc:spChg>
        </pc:sldLayoutChg>
        <pc:sldLayoutChg chg="delSp mod">
          <pc:chgData name="Bjarne Stavnshøj" userId="ab6928f3-1e8f-4bd8-aa0d-edf50dc48c3d" providerId="ADAL" clId="{34FAB2B0-3E0F-4780-982C-D5AA67AFA08B}" dt="2025-04-14T13:21:59.493" v="2222" actId="478"/>
          <pc:sldLayoutMkLst>
            <pc:docMk/>
            <pc:sldMasterMk cId="290811864" sldId="2147483648"/>
            <pc:sldLayoutMk cId="65470655" sldId="2147483655"/>
          </pc:sldLayoutMkLst>
          <pc:spChg chg="del">
            <ac:chgData name="Bjarne Stavnshøj" userId="ab6928f3-1e8f-4bd8-aa0d-edf50dc48c3d" providerId="ADAL" clId="{34FAB2B0-3E0F-4780-982C-D5AA67AFA08B}" dt="2025-04-14T13:21:59.493" v="2222" actId="478"/>
            <ac:spMkLst>
              <pc:docMk/>
              <pc:sldMasterMk cId="290811864" sldId="2147483648"/>
              <pc:sldLayoutMk cId="65470655" sldId="2147483655"/>
              <ac:spMk id="4" creationId="{1D7938E8-A719-4F1E-923D-D2952813A45B}"/>
            </ac:spMkLst>
          </pc:spChg>
        </pc:sldLayoutChg>
        <pc:sldLayoutChg chg="delSp mod">
          <pc:chgData name="Bjarne Stavnshøj" userId="ab6928f3-1e8f-4bd8-aa0d-edf50dc48c3d" providerId="ADAL" clId="{34FAB2B0-3E0F-4780-982C-D5AA67AFA08B}" dt="2025-04-14T13:21:28.287" v="2219" actId="478"/>
          <pc:sldLayoutMkLst>
            <pc:docMk/>
            <pc:sldMasterMk cId="290811864" sldId="2147483648"/>
            <pc:sldLayoutMk cId="2552743204" sldId="2147483670"/>
          </pc:sldLayoutMkLst>
          <pc:spChg chg="del">
            <ac:chgData name="Bjarne Stavnshøj" userId="ab6928f3-1e8f-4bd8-aa0d-edf50dc48c3d" providerId="ADAL" clId="{34FAB2B0-3E0F-4780-982C-D5AA67AFA08B}" dt="2025-04-14T13:21:28.287" v="2219" actId="478"/>
            <ac:spMkLst>
              <pc:docMk/>
              <pc:sldMasterMk cId="290811864" sldId="2147483648"/>
              <pc:sldLayoutMk cId="2552743204" sldId="2147483670"/>
              <ac:spMk id="5" creationId="{8E600EB8-6302-4AE6-9D81-F6C9C776C830}"/>
            </ac:spMkLst>
          </pc:spChg>
        </pc:sldLayoutChg>
        <pc:sldLayoutChg chg="delSp mod">
          <pc:chgData name="Bjarne Stavnshøj" userId="ab6928f3-1e8f-4bd8-aa0d-edf50dc48c3d" providerId="ADAL" clId="{34FAB2B0-3E0F-4780-982C-D5AA67AFA08B}" dt="2025-04-14T13:21:34.827" v="2220" actId="478"/>
          <pc:sldLayoutMkLst>
            <pc:docMk/>
            <pc:sldMasterMk cId="290811864" sldId="2147483648"/>
            <pc:sldLayoutMk cId="2451870651" sldId="2147483671"/>
          </pc:sldLayoutMkLst>
          <pc:spChg chg="del">
            <ac:chgData name="Bjarne Stavnshøj" userId="ab6928f3-1e8f-4bd8-aa0d-edf50dc48c3d" providerId="ADAL" clId="{34FAB2B0-3E0F-4780-982C-D5AA67AFA08B}" dt="2025-04-14T13:21:34.827" v="2220" actId="478"/>
            <ac:spMkLst>
              <pc:docMk/>
              <pc:sldMasterMk cId="290811864" sldId="2147483648"/>
              <pc:sldLayoutMk cId="2451870651" sldId="2147483671"/>
              <ac:spMk id="5" creationId="{8E600EB8-6302-4AE6-9D81-F6C9C776C830}"/>
            </ac:spMkLst>
          </pc:spChg>
        </pc:sldLayoutChg>
        <pc:sldLayoutChg chg="delSp mod">
          <pc:chgData name="Bjarne Stavnshøj" userId="ab6928f3-1e8f-4bd8-aa0d-edf50dc48c3d" providerId="ADAL" clId="{34FAB2B0-3E0F-4780-982C-D5AA67AFA08B}" dt="2025-04-14T13:21:11.229" v="2217" actId="478"/>
          <pc:sldLayoutMkLst>
            <pc:docMk/>
            <pc:sldMasterMk cId="290811864" sldId="2147483648"/>
            <pc:sldLayoutMk cId="708873024" sldId="2147483672"/>
          </pc:sldLayoutMkLst>
          <pc:spChg chg="del">
            <ac:chgData name="Bjarne Stavnshøj" userId="ab6928f3-1e8f-4bd8-aa0d-edf50dc48c3d" providerId="ADAL" clId="{34FAB2B0-3E0F-4780-982C-D5AA67AFA08B}" dt="2025-04-14T13:21:11.229" v="2217" actId="478"/>
            <ac:spMkLst>
              <pc:docMk/>
              <pc:sldMasterMk cId="290811864" sldId="2147483648"/>
              <pc:sldLayoutMk cId="708873024" sldId="2147483672"/>
              <ac:spMk id="5" creationId="{8E600EB8-6302-4AE6-9D81-F6C9C776C830}"/>
            </ac:spMkLst>
          </pc:spChg>
        </pc:sldLayoutChg>
        <pc:sldLayoutChg chg="delSp modSp mod">
          <pc:chgData name="Bjarne Stavnshøj" userId="ab6928f3-1e8f-4bd8-aa0d-edf50dc48c3d" providerId="ADAL" clId="{34FAB2B0-3E0F-4780-982C-D5AA67AFA08B}" dt="2025-04-14T13:17:12.663" v="2203" actId="478"/>
          <pc:sldLayoutMkLst>
            <pc:docMk/>
            <pc:sldMasterMk cId="290811864" sldId="2147483648"/>
            <pc:sldLayoutMk cId="2298182575" sldId="2147483673"/>
          </pc:sldLayoutMkLst>
          <pc:spChg chg="del">
            <ac:chgData name="Bjarne Stavnshøj" userId="ab6928f3-1e8f-4bd8-aa0d-edf50dc48c3d" providerId="ADAL" clId="{34FAB2B0-3E0F-4780-982C-D5AA67AFA08B}" dt="2025-04-14T13:17:12.663" v="2203" actId="478"/>
            <ac:spMkLst>
              <pc:docMk/>
              <pc:sldMasterMk cId="290811864" sldId="2147483648"/>
              <pc:sldLayoutMk cId="2298182575" sldId="2147483673"/>
              <ac:spMk id="6" creationId="{2C442DD6-30A8-40BD-B9AC-384E134E8004}"/>
            </ac:spMkLst>
          </pc:spChg>
        </pc:sldLayoutChg>
        <pc:sldLayoutChg chg="delSp modSp mod">
          <pc:chgData name="Bjarne Stavnshøj" userId="ab6928f3-1e8f-4bd8-aa0d-edf50dc48c3d" providerId="ADAL" clId="{34FAB2B0-3E0F-4780-982C-D5AA67AFA08B}" dt="2025-04-14T13:19:41.216" v="2207" actId="122"/>
          <pc:sldLayoutMkLst>
            <pc:docMk/>
            <pc:sldMasterMk cId="290811864" sldId="2147483648"/>
            <pc:sldLayoutMk cId="1750563402" sldId="2147483674"/>
          </pc:sldLayoutMkLst>
          <pc:spChg chg="mod">
            <ac:chgData name="Bjarne Stavnshøj" userId="ab6928f3-1e8f-4bd8-aa0d-edf50dc48c3d" providerId="ADAL" clId="{34FAB2B0-3E0F-4780-982C-D5AA67AFA08B}" dt="2025-04-14T13:19:41.216" v="2207" actId="122"/>
            <ac:spMkLst>
              <pc:docMk/>
              <pc:sldMasterMk cId="290811864" sldId="2147483648"/>
              <pc:sldLayoutMk cId="1750563402" sldId="2147483674"/>
              <ac:spMk id="5" creationId="{BFBC7653-9D7F-4D65-8B56-F40A0F6DFFB6}"/>
            </ac:spMkLst>
          </pc:spChg>
          <pc:spChg chg="del mod">
            <ac:chgData name="Bjarne Stavnshøj" userId="ab6928f3-1e8f-4bd8-aa0d-edf50dc48c3d" providerId="ADAL" clId="{34FAB2B0-3E0F-4780-982C-D5AA67AFA08B}" dt="2025-04-14T13:17:03.436" v="2202" actId="478"/>
            <ac:spMkLst>
              <pc:docMk/>
              <pc:sldMasterMk cId="290811864" sldId="2147483648"/>
              <pc:sldLayoutMk cId="1750563402" sldId="2147483674"/>
              <ac:spMk id="6" creationId="{2C442DD6-30A8-40BD-B9AC-384E134E8004}"/>
            </ac:spMkLst>
          </pc:spChg>
        </pc:sldLayoutChg>
        <pc:sldLayoutChg chg="delSp mod">
          <pc:chgData name="Bjarne Stavnshøj" userId="ab6928f3-1e8f-4bd8-aa0d-edf50dc48c3d" providerId="ADAL" clId="{34FAB2B0-3E0F-4780-982C-D5AA67AFA08B}" dt="2025-04-14T13:17:19.821" v="2204" actId="478"/>
          <pc:sldLayoutMkLst>
            <pc:docMk/>
            <pc:sldMasterMk cId="290811864" sldId="2147483648"/>
            <pc:sldLayoutMk cId="2735673000" sldId="2147483675"/>
          </pc:sldLayoutMkLst>
          <pc:spChg chg="del">
            <ac:chgData name="Bjarne Stavnshøj" userId="ab6928f3-1e8f-4bd8-aa0d-edf50dc48c3d" providerId="ADAL" clId="{34FAB2B0-3E0F-4780-982C-D5AA67AFA08B}" dt="2025-04-14T13:17:19.821" v="2204" actId="478"/>
            <ac:spMkLst>
              <pc:docMk/>
              <pc:sldMasterMk cId="290811864" sldId="2147483648"/>
              <pc:sldLayoutMk cId="2735673000" sldId="2147483675"/>
              <ac:spMk id="4" creationId="{8B3C0636-9D06-4ECB-929E-4948CBDC1BED}"/>
            </ac:spMkLst>
          </pc:spChg>
        </pc:sldLayoutChg>
        <pc:sldLayoutChg chg="delSp modSp mod">
          <pc:chgData name="Bjarne Stavnshøj" userId="ab6928f3-1e8f-4bd8-aa0d-edf50dc48c3d" providerId="ADAL" clId="{34FAB2B0-3E0F-4780-982C-D5AA67AFA08B}" dt="2025-04-14T13:20:03.383" v="2208" actId="478"/>
          <pc:sldLayoutMkLst>
            <pc:docMk/>
            <pc:sldMasterMk cId="290811864" sldId="2147483648"/>
            <pc:sldLayoutMk cId="2019788582" sldId="2147483676"/>
          </pc:sldLayoutMkLst>
          <pc:spChg chg="del">
            <ac:chgData name="Bjarne Stavnshøj" userId="ab6928f3-1e8f-4bd8-aa0d-edf50dc48c3d" providerId="ADAL" clId="{34FAB2B0-3E0F-4780-982C-D5AA67AFA08B}" dt="2025-04-14T13:20:03.383" v="2208" actId="478"/>
            <ac:spMkLst>
              <pc:docMk/>
              <pc:sldMasterMk cId="290811864" sldId="2147483648"/>
              <pc:sldLayoutMk cId="2019788582" sldId="2147483676"/>
              <ac:spMk id="6" creationId="{2C442DD6-30A8-40BD-B9AC-384E134E8004}"/>
            </ac:spMkLst>
          </pc:spChg>
        </pc:sldLayoutChg>
        <pc:sldLayoutChg chg="delSp mod">
          <pc:chgData name="Bjarne Stavnshøj" userId="ab6928f3-1e8f-4bd8-aa0d-edf50dc48c3d" providerId="ADAL" clId="{34FAB2B0-3E0F-4780-982C-D5AA67AFA08B}" dt="2025-04-14T13:20:18.317" v="2210" actId="478"/>
          <pc:sldLayoutMkLst>
            <pc:docMk/>
            <pc:sldMasterMk cId="290811864" sldId="2147483648"/>
            <pc:sldLayoutMk cId="1476973839" sldId="2147483677"/>
          </pc:sldLayoutMkLst>
          <pc:spChg chg="del">
            <ac:chgData name="Bjarne Stavnshøj" userId="ab6928f3-1e8f-4bd8-aa0d-edf50dc48c3d" providerId="ADAL" clId="{34FAB2B0-3E0F-4780-982C-D5AA67AFA08B}" dt="2025-04-14T13:20:18.317" v="2210" actId="478"/>
            <ac:spMkLst>
              <pc:docMk/>
              <pc:sldMasterMk cId="290811864" sldId="2147483648"/>
              <pc:sldLayoutMk cId="1476973839" sldId="2147483677"/>
              <ac:spMk id="7" creationId="{8A9072FD-E5E2-4D12-B55B-F6EC927B1E69}"/>
            </ac:spMkLst>
          </pc:spChg>
        </pc:sldLayoutChg>
        <pc:sldLayoutChg chg="delSp mod">
          <pc:chgData name="Bjarne Stavnshøj" userId="ab6928f3-1e8f-4bd8-aa0d-edf50dc48c3d" providerId="ADAL" clId="{34FAB2B0-3E0F-4780-982C-D5AA67AFA08B}" dt="2025-04-14T13:20:23.384" v="2211" actId="478"/>
          <pc:sldLayoutMkLst>
            <pc:docMk/>
            <pc:sldMasterMk cId="290811864" sldId="2147483648"/>
            <pc:sldLayoutMk cId="2981500249" sldId="2147483678"/>
          </pc:sldLayoutMkLst>
          <pc:spChg chg="del">
            <ac:chgData name="Bjarne Stavnshøj" userId="ab6928f3-1e8f-4bd8-aa0d-edf50dc48c3d" providerId="ADAL" clId="{34FAB2B0-3E0F-4780-982C-D5AA67AFA08B}" dt="2025-04-14T13:20:23.384" v="2211" actId="478"/>
            <ac:spMkLst>
              <pc:docMk/>
              <pc:sldMasterMk cId="290811864" sldId="2147483648"/>
              <pc:sldLayoutMk cId="2981500249" sldId="2147483678"/>
              <ac:spMk id="7" creationId="{8A9072FD-E5E2-4D12-B55B-F6EC927B1E69}"/>
            </ac:spMkLst>
          </pc:spChg>
        </pc:sldLayoutChg>
        <pc:sldLayoutChg chg="delSp modSp mod">
          <pc:chgData name="Bjarne Stavnshøj" userId="ab6928f3-1e8f-4bd8-aa0d-edf50dc48c3d" providerId="ADAL" clId="{34FAB2B0-3E0F-4780-982C-D5AA67AFA08B}" dt="2025-04-14T13:20:35.825" v="2213" actId="478"/>
          <pc:sldLayoutMkLst>
            <pc:docMk/>
            <pc:sldMasterMk cId="290811864" sldId="2147483648"/>
            <pc:sldLayoutMk cId="439709958" sldId="2147483679"/>
          </pc:sldLayoutMkLst>
          <pc:spChg chg="del mod">
            <ac:chgData name="Bjarne Stavnshøj" userId="ab6928f3-1e8f-4bd8-aa0d-edf50dc48c3d" providerId="ADAL" clId="{34FAB2B0-3E0F-4780-982C-D5AA67AFA08B}" dt="2025-04-14T13:20:35.825" v="2213" actId="478"/>
            <ac:spMkLst>
              <pc:docMk/>
              <pc:sldMasterMk cId="290811864" sldId="2147483648"/>
              <pc:sldLayoutMk cId="439709958" sldId="2147483679"/>
              <ac:spMk id="7" creationId="{8A9072FD-E5E2-4D12-B55B-F6EC927B1E69}"/>
            </ac:spMkLst>
          </pc:spChg>
        </pc:sldLayoutChg>
        <pc:sldLayoutChg chg="delSp mod">
          <pc:chgData name="Bjarne Stavnshøj" userId="ab6928f3-1e8f-4bd8-aa0d-edf50dc48c3d" providerId="ADAL" clId="{34FAB2B0-3E0F-4780-982C-D5AA67AFA08B}" dt="2025-04-14T13:20:51.111" v="2215" actId="478"/>
          <pc:sldLayoutMkLst>
            <pc:docMk/>
            <pc:sldMasterMk cId="290811864" sldId="2147483648"/>
            <pc:sldLayoutMk cId="1127174560" sldId="2147483680"/>
          </pc:sldLayoutMkLst>
          <pc:spChg chg="del">
            <ac:chgData name="Bjarne Stavnshøj" userId="ab6928f3-1e8f-4bd8-aa0d-edf50dc48c3d" providerId="ADAL" clId="{34FAB2B0-3E0F-4780-982C-D5AA67AFA08B}" dt="2025-04-14T13:20:51.111" v="2215" actId="478"/>
            <ac:spMkLst>
              <pc:docMk/>
              <pc:sldMasterMk cId="290811864" sldId="2147483648"/>
              <pc:sldLayoutMk cId="1127174560" sldId="2147483680"/>
              <ac:spMk id="9" creationId="{0F26E3AF-16EE-45C9-9BD9-158B00D35984}"/>
            </ac:spMkLst>
          </pc:spChg>
        </pc:sldLayoutChg>
        <pc:sldLayoutChg chg="delSp modSp mod">
          <pc:chgData name="Bjarne Stavnshøj" userId="ab6928f3-1e8f-4bd8-aa0d-edf50dc48c3d" providerId="ADAL" clId="{34FAB2B0-3E0F-4780-982C-D5AA67AFA08B}" dt="2025-04-14T13:21:44.530" v="2221" actId="478"/>
          <pc:sldLayoutMkLst>
            <pc:docMk/>
            <pc:sldMasterMk cId="290811864" sldId="2147483648"/>
            <pc:sldLayoutMk cId="4058932704" sldId="2147483681"/>
          </pc:sldLayoutMkLst>
          <pc:spChg chg="del">
            <ac:chgData name="Bjarne Stavnshøj" userId="ab6928f3-1e8f-4bd8-aa0d-edf50dc48c3d" providerId="ADAL" clId="{34FAB2B0-3E0F-4780-982C-D5AA67AFA08B}" dt="2025-04-14T13:21:44.530" v="2221" actId="478"/>
            <ac:spMkLst>
              <pc:docMk/>
              <pc:sldMasterMk cId="290811864" sldId="2147483648"/>
              <pc:sldLayoutMk cId="4058932704" sldId="2147483681"/>
              <ac:spMk id="5" creationId="{8E600EB8-6302-4AE6-9D81-F6C9C776C830}"/>
            </ac:spMkLst>
          </pc:spChg>
        </pc:sldLayoutChg>
        <pc:sldLayoutChg chg="delSp mod">
          <pc:chgData name="Bjarne Stavnshøj" userId="ab6928f3-1e8f-4bd8-aa0d-edf50dc48c3d" providerId="ADAL" clId="{34FAB2B0-3E0F-4780-982C-D5AA67AFA08B}" dt="2025-04-14T13:21:20.422" v="2218" actId="478"/>
          <pc:sldLayoutMkLst>
            <pc:docMk/>
            <pc:sldMasterMk cId="290811864" sldId="2147483648"/>
            <pc:sldLayoutMk cId="2184754423" sldId="2147483682"/>
          </pc:sldLayoutMkLst>
          <pc:spChg chg="del">
            <ac:chgData name="Bjarne Stavnshøj" userId="ab6928f3-1e8f-4bd8-aa0d-edf50dc48c3d" providerId="ADAL" clId="{34FAB2B0-3E0F-4780-982C-D5AA67AFA08B}" dt="2025-04-14T13:21:20.422" v="2218" actId="478"/>
            <ac:spMkLst>
              <pc:docMk/>
              <pc:sldMasterMk cId="290811864" sldId="2147483648"/>
              <pc:sldLayoutMk cId="2184754423" sldId="2147483682"/>
              <ac:spMk id="5" creationId="{8E600EB8-6302-4AE6-9D81-F6C9C776C830}"/>
            </ac:spMkLst>
          </pc:spChg>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3775865-02EA-43F9-94FB-F205D9DFA123}" type="doc">
      <dgm:prSet loTypeId="urn:microsoft.com/office/officeart/2005/8/layout/hierarchy1" loCatId="hierarchy" qsTypeId="urn:microsoft.com/office/officeart/2005/8/quickstyle/simple1" qsCatId="simple" csTypeId="urn:microsoft.com/office/officeart/2005/8/colors/accent1_2" csCatId="accent1" phldr="1"/>
      <dgm:spPr/>
      <dgm:t>
        <a:bodyPr/>
        <a:lstStyle/>
        <a:p>
          <a:endParaRPr lang="en-US"/>
        </a:p>
      </dgm:t>
    </dgm:pt>
    <dgm:pt modelId="{57C360E3-8500-4519-AC0D-8A00D9A9E6E0}">
      <dgm:prSet custT="1"/>
      <dgm:spPr>
        <a:solidFill>
          <a:schemeClr val="lt1">
            <a:hueOff val="0"/>
            <a:satOff val="0"/>
            <a:lumOff val="0"/>
            <a:alpha val="95000"/>
          </a:schemeClr>
        </a:solidFill>
        <a:ln>
          <a:solidFill>
            <a:srgbClr val="5CC4BF"/>
          </a:solidFill>
        </a:ln>
      </dgm:spPr>
      <dgm:t>
        <a:bodyPr/>
        <a:lstStyle/>
        <a:p>
          <a:r>
            <a:rPr lang="da-DK" sz="1600" b="1">
              <a:solidFill>
                <a:srgbClr val="5CC4BF"/>
              </a:solidFill>
            </a:rPr>
            <a:t>Rettelser</a:t>
          </a:r>
          <a:endParaRPr lang="en-US" sz="1600" b="1">
            <a:solidFill>
              <a:srgbClr val="5CC4BF"/>
            </a:solidFill>
          </a:endParaRPr>
        </a:p>
      </dgm:t>
    </dgm:pt>
    <dgm:pt modelId="{A57DD325-CD94-4CA7-9487-DFF620A38C4A}" type="parTrans" cxnId="{DD43E40D-6F5B-4428-852B-45BD499FFC21}">
      <dgm:prSet/>
      <dgm:spPr/>
      <dgm:t>
        <a:bodyPr/>
        <a:lstStyle/>
        <a:p>
          <a:endParaRPr lang="en-US"/>
        </a:p>
      </dgm:t>
    </dgm:pt>
    <dgm:pt modelId="{E5C28A2B-2F67-4713-9BFF-16149EE0BA26}" type="sibTrans" cxnId="{DD43E40D-6F5B-4428-852B-45BD499FFC21}">
      <dgm:prSet/>
      <dgm:spPr/>
      <dgm:t>
        <a:bodyPr/>
        <a:lstStyle/>
        <a:p>
          <a:endParaRPr lang="en-US"/>
        </a:p>
      </dgm:t>
    </dgm:pt>
    <dgm:pt modelId="{F46DD106-01FD-4154-8A17-AFE385C92B5F}">
      <dgm:prSet custT="1"/>
      <dgm:spPr>
        <a:solidFill>
          <a:schemeClr val="lt1">
            <a:hueOff val="0"/>
            <a:satOff val="0"/>
            <a:lumOff val="0"/>
            <a:alpha val="95000"/>
          </a:schemeClr>
        </a:solidFill>
        <a:ln>
          <a:solidFill>
            <a:srgbClr val="5CC4BF"/>
          </a:solidFill>
        </a:ln>
      </dgm:spPr>
      <dgm:t>
        <a:bodyPr/>
        <a:lstStyle/>
        <a:p>
          <a:r>
            <a:rPr lang="da-DK" sz="1600" b="1" dirty="0">
              <a:solidFill>
                <a:srgbClr val="5CC4BF"/>
              </a:solidFill>
            </a:rPr>
            <a:t>Saldobalancer</a:t>
          </a:r>
          <a:endParaRPr lang="en-US" sz="1600" b="1" dirty="0">
            <a:solidFill>
              <a:srgbClr val="5CC4BF"/>
            </a:solidFill>
          </a:endParaRPr>
        </a:p>
      </dgm:t>
    </dgm:pt>
    <dgm:pt modelId="{73A57E31-D17F-4922-8B9D-B8E9803A8C49}" type="parTrans" cxnId="{F6440023-A77D-4E89-80AB-5B9A407E0685}">
      <dgm:prSet/>
      <dgm:spPr/>
      <dgm:t>
        <a:bodyPr/>
        <a:lstStyle/>
        <a:p>
          <a:endParaRPr lang="en-US"/>
        </a:p>
      </dgm:t>
    </dgm:pt>
    <dgm:pt modelId="{EF8F79F0-708A-4CA0-9F52-A8134ED992D2}" type="sibTrans" cxnId="{F6440023-A77D-4E89-80AB-5B9A407E0685}">
      <dgm:prSet/>
      <dgm:spPr/>
      <dgm:t>
        <a:bodyPr/>
        <a:lstStyle/>
        <a:p>
          <a:endParaRPr lang="en-US"/>
        </a:p>
      </dgm:t>
    </dgm:pt>
    <dgm:pt modelId="{FBA79149-6C0B-477D-8498-190D7C8F510B}">
      <dgm:prSet custT="1"/>
      <dgm:spPr>
        <a:solidFill>
          <a:schemeClr val="lt1">
            <a:hueOff val="0"/>
            <a:satOff val="0"/>
            <a:lumOff val="0"/>
            <a:alpha val="95000"/>
          </a:schemeClr>
        </a:solidFill>
        <a:ln>
          <a:solidFill>
            <a:srgbClr val="5CC4BF"/>
          </a:solidFill>
        </a:ln>
      </dgm:spPr>
      <dgm:t>
        <a:bodyPr/>
        <a:lstStyle/>
        <a:p>
          <a:r>
            <a:rPr lang="da-DK" sz="1600" b="1" dirty="0">
              <a:solidFill>
                <a:srgbClr val="5CC4BF"/>
              </a:solidFill>
            </a:rPr>
            <a:t>Kontoudtog</a:t>
          </a:r>
          <a:endParaRPr lang="en-US" sz="1600" b="1" dirty="0">
            <a:solidFill>
              <a:srgbClr val="5CC4BF"/>
            </a:solidFill>
          </a:endParaRPr>
        </a:p>
      </dgm:t>
    </dgm:pt>
    <dgm:pt modelId="{F8CB6BE1-93E0-4B5F-93DC-E8001BCC42CB}" type="sibTrans" cxnId="{AC71ADCF-251E-489C-9B96-072C9C9369D0}">
      <dgm:prSet/>
      <dgm:spPr/>
      <dgm:t>
        <a:bodyPr/>
        <a:lstStyle/>
        <a:p>
          <a:endParaRPr lang="en-US"/>
        </a:p>
      </dgm:t>
    </dgm:pt>
    <dgm:pt modelId="{FCED9FF5-939C-482A-88B4-CE25576AB1D7}" type="parTrans" cxnId="{AC71ADCF-251E-489C-9B96-072C9C9369D0}">
      <dgm:prSet/>
      <dgm:spPr/>
      <dgm:t>
        <a:bodyPr/>
        <a:lstStyle/>
        <a:p>
          <a:endParaRPr lang="en-US"/>
        </a:p>
      </dgm:t>
    </dgm:pt>
    <dgm:pt modelId="{72C5B193-CF8F-4FB9-AF8F-B1C22052CAE5}" type="pres">
      <dgm:prSet presAssocID="{F3775865-02EA-43F9-94FB-F205D9DFA123}" presName="hierChild1" presStyleCnt="0">
        <dgm:presLayoutVars>
          <dgm:chPref val="1"/>
          <dgm:dir/>
          <dgm:animOne val="branch"/>
          <dgm:animLvl val="lvl"/>
          <dgm:resizeHandles/>
        </dgm:presLayoutVars>
      </dgm:prSet>
      <dgm:spPr/>
    </dgm:pt>
    <dgm:pt modelId="{976666AF-1BB3-429F-A952-D00F0B6718D0}" type="pres">
      <dgm:prSet presAssocID="{57C360E3-8500-4519-AC0D-8A00D9A9E6E0}" presName="hierRoot1" presStyleCnt="0"/>
      <dgm:spPr/>
    </dgm:pt>
    <dgm:pt modelId="{78F17A61-F1D3-4A49-B8E7-B628F8DE0B77}" type="pres">
      <dgm:prSet presAssocID="{57C360E3-8500-4519-AC0D-8A00D9A9E6E0}" presName="composite" presStyleCnt="0"/>
      <dgm:spPr/>
    </dgm:pt>
    <dgm:pt modelId="{D6DFF4CD-0BDD-4D84-A67F-B19032A7D1AE}" type="pres">
      <dgm:prSet presAssocID="{57C360E3-8500-4519-AC0D-8A00D9A9E6E0}" presName="background" presStyleLbl="node0" presStyleIdx="0" presStyleCnt="3"/>
      <dgm:spPr>
        <a:solidFill>
          <a:srgbClr val="5CC4BF"/>
        </a:solidFill>
      </dgm:spPr>
    </dgm:pt>
    <dgm:pt modelId="{EA0EC1E1-D09F-46A1-AC59-52C2196A84AD}" type="pres">
      <dgm:prSet presAssocID="{57C360E3-8500-4519-AC0D-8A00D9A9E6E0}" presName="text" presStyleLbl="fgAcc0" presStyleIdx="0" presStyleCnt="3" custLinFactNeighborY="-18585">
        <dgm:presLayoutVars>
          <dgm:chPref val="3"/>
        </dgm:presLayoutVars>
      </dgm:prSet>
      <dgm:spPr/>
    </dgm:pt>
    <dgm:pt modelId="{541AE190-7057-4CBF-A14A-8D0AA5F86152}" type="pres">
      <dgm:prSet presAssocID="{57C360E3-8500-4519-AC0D-8A00D9A9E6E0}" presName="hierChild2" presStyleCnt="0"/>
      <dgm:spPr/>
    </dgm:pt>
    <dgm:pt modelId="{0E6F9EA0-21B4-4746-B230-1AE04A8527A4}" type="pres">
      <dgm:prSet presAssocID="{FBA79149-6C0B-477D-8498-190D7C8F510B}" presName="hierRoot1" presStyleCnt="0"/>
      <dgm:spPr/>
    </dgm:pt>
    <dgm:pt modelId="{0647DF4E-9B7E-48DB-B2C3-8735F80AF585}" type="pres">
      <dgm:prSet presAssocID="{FBA79149-6C0B-477D-8498-190D7C8F510B}" presName="composite" presStyleCnt="0"/>
      <dgm:spPr/>
    </dgm:pt>
    <dgm:pt modelId="{968EE4E4-2EAE-454D-8562-F7382942AD46}" type="pres">
      <dgm:prSet presAssocID="{FBA79149-6C0B-477D-8498-190D7C8F510B}" presName="background" presStyleLbl="node0" presStyleIdx="1" presStyleCnt="3"/>
      <dgm:spPr>
        <a:solidFill>
          <a:srgbClr val="5CC4BF"/>
        </a:solidFill>
      </dgm:spPr>
    </dgm:pt>
    <dgm:pt modelId="{CAA140BF-218C-43DC-8775-D548B06DF03F}" type="pres">
      <dgm:prSet presAssocID="{FBA79149-6C0B-477D-8498-190D7C8F510B}" presName="text" presStyleLbl="fgAcc0" presStyleIdx="1" presStyleCnt="3" custLinFactNeighborY="-18585">
        <dgm:presLayoutVars>
          <dgm:chPref val="3"/>
        </dgm:presLayoutVars>
      </dgm:prSet>
      <dgm:spPr/>
    </dgm:pt>
    <dgm:pt modelId="{A0D26F35-C570-48DD-8E7E-7E3CB34A13AB}" type="pres">
      <dgm:prSet presAssocID="{FBA79149-6C0B-477D-8498-190D7C8F510B}" presName="hierChild2" presStyleCnt="0"/>
      <dgm:spPr/>
    </dgm:pt>
    <dgm:pt modelId="{F588575F-B125-4B72-B202-F1AA259AFB91}" type="pres">
      <dgm:prSet presAssocID="{F46DD106-01FD-4154-8A17-AFE385C92B5F}" presName="hierRoot1" presStyleCnt="0"/>
      <dgm:spPr/>
    </dgm:pt>
    <dgm:pt modelId="{8D5DFFF3-2F8F-4EDD-8EEA-6813C7B30228}" type="pres">
      <dgm:prSet presAssocID="{F46DD106-01FD-4154-8A17-AFE385C92B5F}" presName="composite" presStyleCnt="0"/>
      <dgm:spPr/>
    </dgm:pt>
    <dgm:pt modelId="{92F407FC-767B-494A-9CB9-2C37D2D945D3}" type="pres">
      <dgm:prSet presAssocID="{F46DD106-01FD-4154-8A17-AFE385C92B5F}" presName="background" presStyleLbl="node0" presStyleIdx="2" presStyleCnt="3"/>
      <dgm:spPr>
        <a:solidFill>
          <a:srgbClr val="5CC4BF"/>
        </a:solidFill>
      </dgm:spPr>
    </dgm:pt>
    <dgm:pt modelId="{56E58C91-A924-4FB7-B588-53FDEC0667EA}" type="pres">
      <dgm:prSet presAssocID="{F46DD106-01FD-4154-8A17-AFE385C92B5F}" presName="text" presStyleLbl="fgAcc0" presStyleIdx="2" presStyleCnt="3" custLinFactNeighborY="-18585">
        <dgm:presLayoutVars>
          <dgm:chPref val="3"/>
        </dgm:presLayoutVars>
      </dgm:prSet>
      <dgm:spPr/>
    </dgm:pt>
    <dgm:pt modelId="{56981FF9-B740-49E2-ACCB-927E4A116B23}" type="pres">
      <dgm:prSet presAssocID="{F46DD106-01FD-4154-8A17-AFE385C92B5F}" presName="hierChild2" presStyleCnt="0"/>
      <dgm:spPr/>
    </dgm:pt>
  </dgm:ptLst>
  <dgm:cxnLst>
    <dgm:cxn modelId="{3E19B109-C497-499E-A96D-645AB28EE8D2}" type="presOf" srcId="{F3775865-02EA-43F9-94FB-F205D9DFA123}" destId="{72C5B193-CF8F-4FB9-AF8F-B1C22052CAE5}" srcOrd="0" destOrd="0" presId="urn:microsoft.com/office/officeart/2005/8/layout/hierarchy1"/>
    <dgm:cxn modelId="{DD43E40D-6F5B-4428-852B-45BD499FFC21}" srcId="{F3775865-02EA-43F9-94FB-F205D9DFA123}" destId="{57C360E3-8500-4519-AC0D-8A00D9A9E6E0}" srcOrd="0" destOrd="0" parTransId="{A57DD325-CD94-4CA7-9487-DFF620A38C4A}" sibTransId="{E5C28A2B-2F67-4713-9BFF-16149EE0BA26}"/>
    <dgm:cxn modelId="{F6440023-A77D-4E89-80AB-5B9A407E0685}" srcId="{F3775865-02EA-43F9-94FB-F205D9DFA123}" destId="{F46DD106-01FD-4154-8A17-AFE385C92B5F}" srcOrd="2" destOrd="0" parTransId="{73A57E31-D17F-4922-8B9D-B8E9803A8C49}" sibTransId="{EF8F79F0-708A-4CA0-9F52-A8134ED992D2}"/>
    <dgm:cxn modelId="{0C0C1A23-0607-41A8-8953-1A456C46D300}" type="presOf" srcId="{FBA79149-6C0B-477D-8498-190D7C8F510B}" destId="{CAA140BF-218C-43DC-8775-D548B06DF03F}" srcOrd="0" destOrd="0" presId="urn:microsoft.com/office/officeart/2005/8/layout/hierarchy1"/>
    <dgm:cxn modelId="{87804456-F7B5-4A05-AF64-06EC870869A9}" type="presOf" srcId="{57C360E3-8500-4519-AC0D-8A00D9A9E6E0}" destId="{EA0EC1E1-D09F-46A1-AC59-52C2196A84AD}" srcOrd="0" destOrd="0" presId="urn:microsoft.com/office/officeart/2005/8/layout/hierarchy1"/>
    <dgm:cxn modelId="{B3FDBCB1-6502-42CD-B338-D52B64A1818E}" type="presOf" srcId="{F46DD106-01FD-4154-8A17-AFE385C92B5F}" destId="{56E58C91-A924-4FB7-B588-53FDEC0667EA}" srcOrd="0" destOrd="0" presId="urn:microsoft.com/office/officeart/2005/8/layout/hierarchy1"/>
    <dgm:cxn modelId="{AC71ADCF-251E-489C-9B96-072C9C9369D0}" srcId="{F3775865-02EA-43F9-94FB-F205D9DFA123}" destId="{FBA79149-6C0B-477D-8498-190D7C8F510B}" srcOrd="1" destOrd="0" parTransId="{FCED9FF5-939C-482A-88B4-CE25576AB1D7}" sibTransId="{F8CB6BE1-93E0-4B5F-93DC-E8001BCC42CB}"/>
    <dgm:cxn modelId="{998B745C-962F-48ED-A4FC-9640309453FC}" type="presParOf" srcId="{72C5B193-CF8F-4FB9-AF8F-B1C22052CAE5}" destId="{976666AF-1BB3-429F-A952-D00F0B6718D0}" srcOrd="0" destOrd="0" presId="urn:microsoft.com/office/officeart/2005/8/layout/hierarchy1"/>
    <dgm:cxn modelId="{7E033DD2-789E-4CED-A37D-4BB06797DCAE}" type="presParOf" srcId="{976666AF-1BB3-429F-A952-D00F0B6718D0}" destId="{78F17A61-F1D3-4A49-B8E7-B628F8DE0B77}" srcOrd="0" destOrd="0" presId="urn:microsoft.com/office/officeart/2005/8/layout/hierarchy1"/>
    <dgm:cxn modelId="{9B50CE42-8BF3-46EA-B280-071F866E05B0}" type="presParOf" srcId="{78F17A61-F1D3-4A49-B8E7-B628F8DE0B77}" destId="{D6DFF4CD-0BDD-4D84-A67F-B19032A7D1AE}" srcOrd="0" destOrd="0" presId="urn:microsoft.com/office/officeart/2005/8/layout/hierarchy1"/>
    <dgm:cxn modelId="{8F3D3EF3-BE72-4998-99D2-A703C98DCF60}" type="presParOf" srcId="{78F17A61-F1D3-4A49-B8E7-B628F8DE0B77}" destId="{EA0EC1E1-D09F-46A1-AC59-52C2196A84AD}" srcOrd="1" destOrd="0" presId="urn:microsoft.com/office/officeart/2005/8/layout/hierarchy1"/>
    <dgm:cxn modelId="{51D2A57F-854B-4C99-93F5-8FF6E230CF62}" type="presParOf" srcId="{976666AF-1BB3-429F-A952-D00F0B6718D0}" destId="{541AE190-7057-4CBF-A14A-8D0AA5F86152}" srcOrd="1" destOrd="0" presId="urn:microsoft.com/office/officeart/2005/8/layout/hierarchy1"/>
    <dgm:cxn modelId="{983A50E5-7605-455A-B153-58994E85C6E3}" type="presParOf" srcId="{72C5B193-CF8F-4FB9-AF8F-B1C22052CAE5}" destId="{0E6F9EA0-21B4-4746-B230-1AE04A8527A4}" srcOrd="1" destOrd="0" presId="urn:microsoft.com/office/officeart/2005/8/layout/hierarchy1"/>
    <dgm:cxn modelId="{F7F9BBAE-64B7-4677-AAB8-3D052F63A444}" type="presParOf" srcId="{0E6F9EA0-21B4-4746-B230-1AE04A8527A4}" destId="{0647DF4E-9B7E-48DB-B2C3-8735F80AF585}" srcOrd="0" destOrd="0" presId="urn:microsoft.com/office/officeart/2005/8/layout/hierarchy1"/>
    <dgm:cxn modelId="{9E19C419-6649-4BD6-8FD7-2CEB7EAD0CE0}" type="presParOf" srcId="{0647DF4E-9B7E-48DB-B2C3-8735F80AF585}" destId="{968EE4E4-2EAE-454D-8562-F7382942AD46}" srcOrd="0" destOrd="0" presId="urn:microsoft.com/office/officeart/2005/8/layout/hierarchy1"/>
    <dgm:cxn modelId="{F24FE746-A98A-464B-94C4-8D25EA8FB9DA}" type="presParOf" srcId="{0647DF4E-9B7E-48DB-B2C3-8735F80AF585}" destId="{CAA140BF-218C-43DC-8775-D548B06DF03F}" srcOrd="1" destOrd="0" presId="urn:microsoft.com/office/officeart/2005/8/layout/hierarchy1"/>
    <dgm:cxn modelId="{5A3B8031-FA59-4A80-BBF3-8C2F1F260905}" type="presParOf" srcId="{0E6F9EA0-21B4-4746-B230-1AE04A8527A4}" destId="{A0D26F35-C570-48DD-8E7E-7E3CB34A13AB}" srcOrd="1" destOrd="0" presId="urn:microsoft.com/office/officeart/2005/8/layout/hierarchy1"/>
    <dgm:cxn modelId="{5452BA69-C3E3-4363-B511-E2D55EE999C3}" type="presParOf" srcId="{72C5B193-CF8F-4FB9-AF8F-B1C22052CAE5}" destId="{F588575F-B125-4B72-B202-F1AA259AFB91}" srcOrd="2" destOrd="0" presId="urn:microsoft.com/office/officeart/2005/8/layout/hierarchy1"/>
    <dgm:cxn modelId="{85524088-492D-47D5-B70E-A9758532B08D}" type="presParOf" srcId="{F588575F-B125-4B72-B202-F1AA259AFB91}" destId="{8D5DFFF3-2F8F-4EDD-8EEA-6813C7B30228}" srcOrd="0" destOrd="0" presId="urn:microsoft.com/office/officeart/2005/8/layout/hierarchy1"/>
    <dgm:cxn modelId="{47760DF7-AF67-458F-92EE-41B2B0F20E32}" type="presParOf" srcId="{8D5DFFF3-2F8F-4EDD-8EEA-6813C7B30228}" destId="{92F407FC-767B-494A-9CB9-2C37D2D945D3}" srcOrd="0" destOrd="0" presId="urn:microsoft.com/office/officeart/2005/8/layout/hierarchy1"/>
    <dgm:cxn modelId="{BA636074-6496-4F92-BA16-D6B6786D1278}" type="presParOf" srcId="{8D5DFFF3-2F8F-4EDD-8EEA-6813C7B30228}" destId="{56E58C91-A924-4FB7-B588-53FDEC0667EA}" srcOrd="1" destOrd="0" presId="urn:microsoft.com/office/officeart/2005/8/layout/hierarchy1"/>
    <dgm:cxn modelId="{4A5FB992-4D5A-41CC-BFF6-B2938822A7AC}" type="presParOf" srcId="{F588575F-B125-4B72-B202-F1AA259AFB91}" destId="{56981FF9-B740-49E2-ACCB-927E4A116B23}"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DFF4CD-0BDD-4D84-A67F-B19032A7D1AE}">
      <dsp:nvSpPr>
        <dsp:cNvPr id="0" name=""/>
        <dsp:cNvSpPr/>
      </dsp:nvSpPr>
      <dsp:spPr>
        <a:xfrm>
          <a:off x="0" y="752968"/>
          <a:ext cx="2957512" cy="1878020"/>
        </a:xfrm>
        <a:prstGeom prst="roundRect">
          <a:avLst>
            <a:gd name="adj" fmla="val 10000"/>
          </a:avLst>
        </a:prstGeom>
        <a:solidFill>
          <a:srgbClr val="5CC4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A0EC1E1-D09F-46A1-AC59-52C2196A84AD}">
      <dsp:nvSpPr>
        <dsp:cNvPr id="0" name=""/>
        <dsp:cNvSpPr/>
      </dsp:nvSpPr>
      <dsp:spPr>
        <a:xfrm>
          <a:off x="328612" y="1065150"/>
          <a:ext cx="2957512" cy="1878020"/>
        </a:xfrm>
        <a:prstGeom prst="roundRect">
          <a:avLst>
            <a:gd name="adj" fmla="val 10000"/>
          </a:avLst>
        </a:prstGeom>
        <a:solidFill>
          <a:schemeClr val="lt1">
            <a:hueOff val="0"/>
            <a:satOff val="0"/>
            <a:lumOff val="0"/>
            <a:alpha val="95000"/>
          </a:schemeClr>
        </a:solidFill>
        <a:ln w="12700" cap="flat" cmpd="sng" algn="ctr">
          <a:solidFill>
            <a:srgbClr val="5CC4BF"/>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a-DK" sz="1600" b="1" kern="1200">
              <a:solidFill>
                <a:srgbClr val="5CC4BF"/>
              </a:solidFill>
            </a:rPr>
            <a:t>Rettelser</a:t>
          </a:r>
          <a:endParaRPr lang="en-US" sz="1600" b="1" kern="1200">
            <a:solidFill>
              <a:srgbClr val="5CC4BF"/>
            </a:solidFill>
          </a:endParaRPr>
        </a:p>
      </dsp:txBody>
      <dsp:txXfrm>
        <a:off x="383617" y="1120155"/>
        <a:ext cx="2847502" cy="1768010"/>
      </dsp:txXfrm>
    </dsp:sp>
    <dsp:sp modelId="{968EE4E4-2EAE-454D-8562-F7382942AD46}">
      <dsp:nvSpPr>
        <dsp:cNvPr id="0" name=""/>
        <dsp:cNvSpPr/>
      </dsp:nvSpPr>
      <dsp:spPr>
        <a:xfrm>
          <a:off x="3614737" y="752968"/>
          <a:ext cx="2957512" cy="1878020"/>
        </a:xfrm>
        <a:prstGeom prst="roundRect">
          <a:avLst>
            <a:gd name="adj" fmla="val 10000"/>
          </a:avLst>
        </a:prstGeom>
        <a:solidFill>
          <a:srgbClr val="5CC4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AA140BF-218C-43DC-8775-D548B06DF03F}">
      <dsp:nvSpPr>
        <dsp:cNvPr id="0" name=""/>
        <dsp:cNvSpPr/>
      </dsp:nvSpPr>
      <dsp:spPr>
        <a:xfrm>
          <a:off x="3943350" y="1065150"/>
          <a:ext cx="2957512" cy="1878020"/>
        </a:xfrm>
        <a:prstGeom prst="roundRect">
          <a:avLst>
            <a:gd name="adj" fmla="val 10000"/>
          </a:avLst>
        </a:prstGeom>
        <a:solidFill>
          <a:schemeClr val="lt1">
            <a:hueOff val="0"/>
            <a:satOff val="0"/>
            <a:lumOff val="0"/>
            <a:alpha val="95000"/>
          </a:schemeClr>
        </a:solidFill>
        <a:ln w="12700" cap="flat" cmpd="sng" algn="ctr">
          <a:solidFill>
            <a:srgbClr val="5CC4BF"/>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a-DK" sz="1600" b="1" kern="1200" dirty="0">
              <a:solidFill>
                <a:srgbClr val="5CC4BF"/>
              </a:solidFill>
            </a:rPr>
            <a:t>Kontoudtog</a:t>
          </a:r>
          <a:endParaRPr lang="en-US" sz="1600" b="1" kern="1200" dirty="0">
            <a:solidFill>
              <a:srgbClr val="5CC4BF"/>
            </a:solidFill>
          </a:endParaRPr>
        </a:p>
      </dsp:txBody>
      <dsp:txXfrm>
        <a:off x="3998355" y="1120155"/>
        <a:ext cx="2847502" cy="1768010"/>
      </dsp:txXfrm>
    </dsp:sp>
    <dsp:sp modelId="{92F407FC-767B-494A-9CB9-2C37D2D945D3}">
      <dsp:nvSpPr>
        <dsp:cNvPr id="0" name=""/>
        <dsp:cNvSpPr/>
      </dsp:nvSpPr>
      <dsp:spPr>
        <a:xfrm>
          <a:off x="7229475" y="752968"/>
          <a:ext cx="2957512" cy="1878020"/>
        </a:xfrm>
        <a:prstGeom prst="roundRect">
          <a:avLst>
            <a:gd name="adj" fmla="val 10000"/>
          </a:avLst>
        </a:prstGeom>
        <a:solidFill>
          <a:srgbClr val="5CC4B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6E58C91-A924-4FB7-B588-53FDEC0667EA}">
      <dsp:nvSpPr>
        <dsp:cNvPr id="0" name=""/>
        <dsp:cNvSpPr/>
      </dsp:nvSpPr>
      <dsp:spPr>
        <a:xfrm>
          <a:off x="7558087" y="1065150"/>
          <a:ext cx="2957512" cy="1878020"/>
        </a:xfrm>
        <a:prstGeom prst="roundRect">
          <a:avLst>
            <a:gd name="adj" fmla="val 10000"/>
          </a:avLst>
        </a:prstGeom>
        <a:solidFill>
          <a:schemeClr val="lt1">
            <a:hueOff val="0"/>
            <a:satOff val="0"/>
            <a:lumOff val="0"/>
            <a:alpha val="95000"/>
          </a:schemeClr>
        </a:solidFill>
        <a:ln w="12700" cap="flat" cmpd="sng" algn="ctr">
          <a:solidFill>
            <a:srgbClr val="5CC4BF"/>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a-DK" sz="1600" b="1" kern="1200" dirty="0">
              <a:solidFill>
                <a:srgbClr val="5CC4BF"/>
              </a:solidFill>
            </a:rPr>
            <a:t>Saldobalancer</a:t>
          </a:r>
          <a:endParaRPr lang="en-US" sz="1600" b="1" kern="1200" dirty="0">
            <a:solidFill>
              <a:srgbClr val="5CC4BF"/>
            </a:solidFill>
          </a:endParaRPr>
        </a:p>
      </dsp:txBody>
      <dsp:txXfrm>
        <a:off x="7613092" y="1120155"/>
        <a:ext cx="2847502" cy="1768010"/>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3" y="2"/>
            <a:ext cx="3078427" cy="513508"/>
          </a:xfrm>
          <a:prstGeom prst="rect">
            <a:avLst/>
          </a:prstGeom>
        </p:spPr>
        <p:txBody>
          <a:bodyPr vert="horz" lIns="94787" tIns="47393" rIns="94787" bIns="47393" rtlCol="0"/>
          <a:lstStyle>
            <a:lvl1pPr algn="l">
              <a:defRPr sz="1200"/>
            </a:lvl1pPr>
          </a:lstStyle>
          <a:p>
            <a:endParaRPr lang="da-DK"/>
          </a:p>
        </p:txBody>
      </p:sp>
      <p:sp>
        <p:nvSpPr>
          <p:cNvPr id="3" name="Pladsholder til dato 2"/>
          <p:cNvSpPr>
            <a:spLocks noGrp="1"/>
          </p:cNvSpPr>
          <p:nvPr>
            <p:ph type="dt" idx="1"/>
          </p:nvPr>
        </p:nvSpPr>
        <p:spPr>
          <a:xfrm>
            <a:off x="4023995" y="2"/>
            <a:ext cx="3078427" cy="513508"/>
          </a:xfrm>
          <a:prstGeom prst="rect">
            <a:avLst/>
          </a:prstGeom>
        </p:spPr>
        <p:txBody>
          <a:bodyPr vert="horz" lIns="94787" tIns="47393" rIns="94787" bIns="47393" rtlCol="0"/>
          <a:lstStyle>
            <a:lvl1pPr algn="r">
              <a:defRPr sz="1200"/>
            </a:lvl1pPr>
          </a:lstStyle>
          <a:p>
            <a:fld id="{3A0A7211-0E21-467E-8E67-832F087C94AA}" type="datetimeFigureOut">
              <a:rPr lang="da-DK" smtClean="0"/>
              <a:t>14-04-2025</a:t>
            </a:fld>
            <a:endParaRPr lang="da-DK"/>
          </a:p>
        </p:txBody>
      </p:sp>
      <p:sp>
        <p:nvSpPr>
          <p:cNvPr id="4" name="Pladsholder til slidebillede 3"/>
          <p:cNvSpPr>
            <a:spLocks noGrp="1" noRot="1" noChangeAspect="1"/>
          </p:cNvSpPr>
          <p:nvPr>
            <p:ph type="sldImg" idx="2"/>
          </p:nvPr>
        </p:nvSpPr>
        <p:spPr>
          <a:xfrm>
            <a:off x="481013" y="1277938"/>
            <a:ext cx="6142037" cy="3455987"/>
          </a:xfrm>
          <a:prstGeom prst="rect">
            <a:avLst/>
          </a:prstGeom>
          <a:noFill/>
          <a:ln w="12700">
            <a:solidFill>
              <a:prstClr val="black"/>
            </a:solidFill>
          </a:ln>
        </p:spPr>
        <p:txBody>
          <a:bodyPr vert="horz" lIns="94787" tIns="47393" rIns="94787" bIns="47393" rtlCol="0" anchor="ctr"/>
          <a:lstStyle/>
          <a:p>
            <a:endParaRPr lang="da-DK"/>
          </a:p>
        </p:txBody>
      </p:sp>
      <p:sp>
        <p:nvSpPr>
          <p:cNvPr id="5" name="Pladsholder til noter 4"/>
          <p:cNvSpPr>
            <a:spLocks noGrp="1"/>
          </p:cNvSpPr>
          <p:nvPr>
            <p:ph type="body" sz="quarter" idx="3"/>
          </p:nvPr>
        </p:nvSpPr>
        <p:spPr>
          <a:xfrm>
            <a:off x="710407" y="4925409"/>
            <a:ext cx="5683250" cy="4029879"/>
          </a:xfrm>
          <a:prstGeom prst="rect">
            <a:avLst/>
          </a:prstGeom>
        </p:spPr>
        <p:txBody>
          <a:bodyPr vert="horz" lIns="94787" tIns="47393" rIns="94787" bIns="47393" rtlCol="0"/>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3" y="9721109"/>
            <a:ext cx="3078427" cy="513507"/>
          </a:xfrm>
          <a:prstGeom prst="rect">
            <a:avLst/>
          </a:prstGeom>
        </p:spPr>
        <p:txBody>
          <a:bodyPr vert="horz" lIns="94787" tIns="47393" rIns="94787" bIns="47393" rtlCol="0" anchor="b"/>
          <a:lstStyle>
            <a:lvl1pPr algn="l">
              <a:defRPr sz="1200"/>
            </a:lvl1pPr>
          </a:lstStyle>
          <a:p>
            <a:endParaRPr lang="da-DK"/>
          </a:p>
        </p:txBody>
      </p:sp>
      <p:sp>
        <p:nvSpPr>
          <p:cNvPr id="7" name="Pladsholder til slidenummer 6"/>
          <p:cNvSpPr>
            <a:spLocks noGrp="1"/>
          </p:cNvSpPr>
          <p:nvPr>
            <p:ph type="sldNum" sz="quarter" idx="5"/>
          </p:nvPr>
        </p:nvSpPr>
        <p:spPr>
          <a:xfrm>
            <a:off x="4023995" y="9721109"/>
            <a:ext cx="3078427" cy="513507"/>
          </a:xfrm>
          <a:prstGeom prst="rect">
            <a:avLst/>
          </a:prstGeom>
        </p:spPr>
        <p:txBody>
          <a:bodyPr vert="horz" lIns="94787" tIns="47393" rIns="94787" bIns="47393" rtlCol="0" anchor="b"/>
          <a:lstStyle>
            <a:lvl1pPr algn="r">
              <a:defRPr sz="1200"/>
            </a:lvl1pPr>
          </a:lstStyle>
          <a:p>
            <a:fld id="{DFEF0D5B-0ACC-482F-BD81-3363EB3EDBE0}" type="slidenum">
              <a:rPr lang="da-DK" smtClean="0"/>
              <a:t>‹nr.›</a:t>
            </a:fld>
            <a:endParaRPr lang="da-DK"/>
          </a:p>
        </p:txBody>
      </p:sp>
    </p:spTree>
    <p:extLst>
      <p:ext uri="{BB962C8B-B14F-4D97-AF65-F5344CB8AC3E}">
        <p14:creationId xmlns:p14="http://schemas.microsoft.com/office/powerpoint/2010/main" val="11393886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DFEF0D5B-0ACC-482F-BD81-3363EB3EDBE0}" type="slidenum">
              <a:rPr lang="da-DK" smtClean="0"/>
              <a:t>2</a:t>
            </a:fld>
            <a:endParaRPr lang="da-DK"/>
          </a:p>
        </p:txBody>
      </p:sp>
    </p:spTree>
    <p:extLst>
      <p:ext uri="{BB962C8B-B14F-4D97-AF65-F5344CB8AC3E}">
        <p14:creationId xmlns:p14="http://schemas.microsoft.com/office/powerpoint/2010/main" val="6731931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8FE31F-F207-4293-B9B8-50667260F72F}" type="slidenum">
              <a:rPr lang="en-US" smtClean="0"/>
              <a:t>11</a:t>
            </a:fld>
            <a:endParaRPr lang="en-US"/>
          </a:p>
        </p:txBody>
      </p:sp>
    </p:spTree>
    <p:extLst>
      <p:ext uri="{BB962C8B-B14F-4D97-AF65-F5344CB8AC3E}">
        <p14:creationId xmlns:p14="http://schemas.microsoft.com/office/powerpoint/2010/main" val="5881592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Gennemgås ikke i detaljer, hurtigt videre til næste slide;-)</a:t>
            </a:r>
          </a:p>
        </p:txBody>
      </p:sp>
      <p:sp>
        <p:nvSpPr>
          <p:cNvPr id="4" name="Pladsholder til slidenummer 3"/>
          <p:cNvSpPr>
            <a:spLocks noGrp="1"/>
          </p:cNvSpPr>
          <p:nvPr>
            <p:ph type="sldNum" sz="quarter" idx="5"/>
          </p:nvPr>
        </p:nvSpPr>
        <p:spPr/>
        <p:txBody>
          <a:bodyPr/>
          <a:lstStyle/>
          <a:p>
            <a:fld id="{DFEF0D5B-0ACC-482F-BD81-3363EB3EDBE0}" type="slidenum">
              <a:rPr lang="da-DK" smtClean="0"/>
              <a:t>12</a:t>
            </a:fld>
            <a:endParaRPr lang="da-DK"/>
          </a:p>
        </p:txBody>
      </p:sp>
    </p:spTree>
    <p:extLst>
      <p:ext uri="{BB962C8B-B14F-4D97-AF65-F5344CB8AC3E}">
        <p14:creationId xmlns:p14="http://schemas.microsoft.com/office/powerpoint/2010/main" val="11869467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DFEF0D5B-0ACC-482F-BD81-3363EB3EDBE0}" type="slidenum">
              <a:rPr lang="da-DK" smtClean="0"/>
              <a:t>13</a:t>
            </a:fld>
            <a:endParaRPr lang="da-DK"/>
          </a:p>
        </p:txBody>
      </p:sp>
    </p:spTree>
    <p:extLst>
      <p:ext uri="{BB962C8B-B14F-4D97-AF65-F5344CB8AC3E}">
        <p14:creationId xmlns:p14="http://schemas.microsoft.com/office/powerpoint/2010/main" val="36068218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DFEF0D5B-0ACC-482F-BD81-3363EB3EDBE0}" type="slidenum">
              <a:rPr lang="da-DK" smtClean="0"/>
              <a:t>14</a:t>
            </a:fld>
            <a:endParaRPr lang="da-DK"/>
          </a:p>
        </p:txBody>
      </p:sp>
    </p:spTree>
    <p:extLst>
      <p:ext uri="{BB962C8B-B14F-4D97-AF65-F5344CB8AC3E}">
        <p14:creationId xmlns:p14="http://schemas.microsoft.com/office/powerpoint/2010/main" val="24798073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defTabSz="947860">
              <a:defRPr/>
            </a:pPr>
            <a:r>
              <a:rPr lang="da-DK" dirty="0"/>
              <a:t>Adgang til </a:t>
            </a:r>
            <a:r>
              <a:rPr lang="da-DK" dirty="0" err="1"/>
              <a:t>FlexPOS</a:t>
            </a:r>
            <a:r>
              <a:rPr lang="da-DK" dirty="0"/>
              <a:t> BackOffice er ikke en nødvendighed på samme måde som de andre, men meget nyttigt (butiksleder eller </a:t>
            </a:r>
            <a:r>
              <a:rPr lang="da-DK" dirty="0" err="1"/>
              <a:t>Ameros</a:t>
            </a:r>
            <a:r>
              <a:rPr lang="da-DK" dirty="0"/>
              <a:t> support kan sørge for adgangen)</a:t>
            </a:r>
          </a:p>
          <a:p>
            <a:endParaRPr lang="da-DK" dirty="0"/>
          </a:p>
        </p:txBody>
      </p:sp>
      <p:sp>
        <p:nvSpPr>
          <p:cNvPr id="4" name="Pladsholder til slidenummer 3"/>
          <p:cNvSpPr>
            <a:spLocks noGrp="1"/>
          </p:cNvSpPr>
          <p:nvPr>
            <p:ph type="sldNum" sz="quarter" idx="5"/>
          </p:nvPr>
        </p:nvSpPr>
        <p:spPr/>
        <p:txBody>
          <a:bodyPr/>
          <a:lstStyle/>
          <a:p>
            <a:fld id="{DFEF0D5B-0ACC-482F-BD81-3363EB3EDBE0}" type="slidenum">
              <a:rPr lang="da-DK" smtClean="0"/>
              <a:t>15</a:t>
            </a:fld>
            <a:endParaRPr lang="da-DK"/>
          </a:p>
        </p:txBody>
      </p:sp>
    </p:spTree>
    <p:extLst>
      <p:ext uri="{BB962C8B-B14F-4D97-AF65-F5344CB8AC3E}">
        <p14:creationId xmlns:p14="http://schemas.microsoft.com/office/powerpoint/2010/main" val="7028964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DFEF0D5B-0ACC-482F-BD81-3363EB3EDBE0}" type="slidenum">
              <a:rPr lang="da-DK" smtClean="0"/>
              <a:t>16</a:t>
            </a:fld>
            <a:endParaRPr lang="da-DK"/>
          </a:p>
        </p:txBody>
      </p:sp>
    </p:spTree>
    <p:extLst>
      <p:ext uri="{BB962C8B-B14F-4D97-AF65-F5344CB8AC3E}">
        <p14:creationId xmlns:p14="http://schemas.microsoft.com/office/powerpoint/2010/main" val="12185859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Frie/øremærkede midler:</a:t>
            </a:r>
          </a:p>
          <a:p>
            <a:r>
              <a:rPr lang="da-DK" dirty="0"/>
              <a:t>Indtægter defineret som frie midler (dvs. midler, som afdelingen frit kan bruge til at fremme Røde Kors’ formål) bogføres direkte som indtægt, når de modtages.</a:t>
            </a:r>
          </a:p>
          <a:p>
            <a:r>
              <a:rPr lang="da-DK" dirty="0"/>
              <a:t>Indtægter defineret som øremærkede (dvs. midler, som afdelingen modtager til brug for et bestemt formål) bør bogføres som skyldige (konto 9110), når de modtages, og først bogføres som indtægt, når de er brugt (jf. vejledning 6h Bogføring – øremærkede midler mv.).</a:t>
            </a:r>
          </a:p>
          <a:p>
            <a:endParaRPr lang="da-DK" dirty="0"/>
          </a:p>
          <a:p>
            <a:r>
              <a:rPr lang="da-DK" dirty="0"/>
              <a:t>Indtægts-genererende aktiviteter/sociale aktiviteter:</a:t>
            </a:r>
          </a:p>
          <a:p>
            <a:r>
              <a:rPr lang="da-DK" dirty="0"/>
              <a:t>Iflg. vedtægternes § 14 indbetales en procentdel (pt. 34%) af afdelingens nettoindtægt (overskud) fra indtægts-genererende aktiviteter, jf. slide 19.</a:t>
            </a:r>
          </a:p>
          <a:p>
            <a:r>
              <a:rPr lang="da-DK" dirty="0"/>
              <a:t>Har afdelingen undtagelsesvis overskud vedr. sociale aktiviteter, indgår dette overskud ikke i beregningen af de 34%, men kan evt. påvirke beregningen af overskydende driftsformue. Skal bevillinger/donationer/arv anvendes efter det kalenderår, hvor de er udbetalt, er det derfor vigtigt, at de bogføres som ikke forbrugte øremærkede midler (jf. vejledning 6h Bogføring – øremærkede midler mv.).</a:t>
            </a:r>
          </a:p>
          <a:p>
            <a:endParaRPr lang="da-DK" dirty="0"/>
          </a:p>
        </p:txBody>
      </p:sp>
      <p:sp>
        <p:nvSpPr>
          <p:cNvPr id="4" name="Pladsholder til slidenummer 3"/>
          <p:cNvSpPr>
            <a:spLocks noGrp="1"/>
          </p:cNvSpPr>
          <p:nvPr>
            <p:ph type="sldNum" sz="quarter" idx="5"/>
          </p:nvPr>
        </p:nvSpPr>
        <p:spPr/>
        <p:txBody>
          <a:bodyPr/>
          <a:lstStyle/>
          <a:p>
            <a:fld id="{DFEF0D5B-0ACC-482F-BD81-3363EB3EDBE0}" type="slidenum">
              <a:rPr lang="da-DK" smtClean="0"/>
              <a:t>17</a:t>
            </a:fld>
            <a:endParaRPr lang="da-DK"/>
          </a:p>
        </p:txBody>
      </p:sp>
    </p:spTree>
    <p:extLst>
      <p:ext uri="{BB962C8B-B14F-4D97-AF65-F5344CB8AC3E}">
        <p14:creationId xmlns:p14="http://schemas.microsoft.com/office/powerpoint/2010/main" val="13115210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Listen over udgifter er ikke udtømmende😉</a:t>
            </a:r>
          </a:p>
        </p:txBody>
      </p:sp>
      <p:sp>
        <p:nvSpPr>
          <p:cNvPr id="4" name="Pladsholder til slidenummer 3"/>
          <p:cNvSpPr>
            <a:spLocks noGrp="1"/>
          </p:cNvSpPr>
          <p:nvPr>
            <p:ph type="sldNum" sz="quarter" idx="5"/>
          </p:nvPr>
        </p:nvSpPr>
        <p:spPr/>
        <p:txBody>
          <a:bodyPr/>
          <a:lstStyle/>
          <a:p>
            <a:fld id="{DFEF0D5B-0ACC-482F-BD81-3363EB3EDBE0}" type="slidenum">
              <a:rPr lang="da-DK" smtClean="0"/>
              <a:t>18</a:t>
            </a:fld>
            <a:endParaRPr lang="da-DK"/>
          </a:p>
        </p:txBody>
      </p:sp>
    </p:spTree>
    <p:extLst>
      <p:ext uri="{BB962C8B-B14F-4D97-AF65-F5344CB8AC3E}">
        <p14:creationId xmlns:p14="http://schemas.microsoft.com/office/powerpoint/2010/main" val="10309451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defTabSz="947860"/>
            <a:r>
              <a:rPr lang="da-DK" dirty="0"/>
              <a:t>Bogføring af 34% og overskydende driftsformue: vejledning 20b Årsregnskab – kontrol 34% og overskydende driftsformue.</a:t>
            </a:r>
          </a:p>
          <a:p>
            <a:endParaRPr lang="da-DK" dirty="0"/>
          </a:p>
        </p:txBody>
      </p:sp>
      <p:sp>
        <p:nvSpPr>
          <p:cNvPr id="4" name="Pladsholder til slidenummer 3"/>
          <p:cNvSpPr>
            <a:spLocks noGrp="1"/>
          </p:cNvSpPr>
          <p:nvPr>
            <p:ph type="sldNum" sz="quarter" idx="5"/>
          </p:nvPr>
        </p:nvSpPr>
        <p:spPr/>
        <p:txBody>
          <a:bodyPr/>
          <a:lstStyle/>
          <a:p>
            <a:fld id="{DFEF0D5B-0ACC-482F-BD81-3363EB3EDBE0}" type="slidenum">
              <a:rPr lang="da-DK" smtClean="0"/>
              <a:t>19</a:t>
            </a:fld>
            <a:endParaRPr lang="da-DK"/>
          </a:p>
        </p:txBody>
      </p:sp>
    </p:spTree>
    <p:extLst>
      <p:ext uri="{BB962C8B-B14F-4D97-AF65-F5344CB8AC3E}">
        <p14:creationId xmlns:p14="http://schemas.microsoft.com/office/powerpoint/2010/main" val="38246049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DFEF0D5B-0ACC-482F-BD81-3363EB3EDBE0}" type="slidenum">
              <a:rPr lang="da-DK" smtClean="0"/>
              <a:t>20</a:t>
            </a:fld>
            <a:endParaRPr lang="da-DK"/>
          </a:p>
        </p:txBody>
      </p:sp>
    </p:spTree>
    <p:extLst>
      <p:ext uri="{BB962C8B-B14F-4D97-AF65-F5344CB8AC3E}">
        <p14:creationId xmlns:p14="http://schemas.microsoft.com/office/powerpoint/2010/main" val="18290381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fld id="{DFEF0D5B-0ACC-482F-BD81-3363EB3EDBE0}" type="slidenum">
              <a:rPr lang="da-DK" smtClean="0"/>
              <a:t>3</a:t>
            </a:fld>
            <a:endParaRPr lang="da-DK"/>
          </a:p>
        </p:txBody>
      </p:sp>
    </p:spTree>
    <p:extLst>
      <p:ext uri="{BB962C8B-B14F-4D97-AF65-F5344CB8AC3E}">
        <p14:creationId xmlns:p14="http://schemas.microsoft.com/office/powerpoint/2010/main" val="9631419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DFEF0D5B-0ACC-482F-BD81-3363EB3EDBE0}" type="slidenum">
              <a:rPr lang="da-DK" smtClean="0"/>
              <a:t>21</a:t>
            </a:fld>
            <a:endParaRPr lang="da-DK"/>
          </a:p>
        </p:txBody>
      </p:sp>
    </p:spTree>
    <p:extLst>
      <p:ext uri="{BB962C8B-B14F-4D97-AF65-F5344CB8AC3E}">
        <p14:creationId xmlns:p14="http://schemas.microsoft.com/office/powerpoint/2010/main" val="29076887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Kontoplan for en Røde Kors-afdeling opstillet skematisk.</a:t>
            </a:r>
          </a:p>
        </p:txBody>
      </p:sp>
      <p:sp>
        <p:nvSpPr>
          <p:cNvPr id="4" name="Pladsholder til slidenummer 3"/>
          <p:cNvSpPr>
            <a:spLocks noGrp="1"/>
          </p:cNvSpPr>
          <p:nvPr>
            <p:ph type="sldNum" sz="quarter" idx="5"/>
          </p:nvPr>
        </p:nvSpPr>
        <p:spPr/>
        <p:txBody>
          <a:bodyPr/>
          <a:lstStyle/>
          <a:p>
            <a:fld id="{DFEF0D5B-0ACC-482F-BD81-3363EB3EDBE0}" type="slidenum">
              <a:rPr lang="da-DK" smtClean="0"/>
              <a:t>22</a:t>
            </a:fld>
            <a:endParaRPr lang="da-DK"/>
          </a:p>
        </p:txBody>
      </p:sp>
    </p:spTree>
    <p:extLst>
      <p:ext uri="{BB962C8B-B14F-4D97-AF65-F5344CB8AC3E}">
        <p14:creationId xmlns:p14="http://schemas.microsoft.com/office/powerpoint/2010/main" val="375770922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Skal redigeres</a:t>
            </a:r>
          </a:p>
        </p:txBody>
      </p:sp>
      <p:sp>
        <p:nvSpPr>
          <p:cNvPr id="4" name="Pladsholder til slidenummer 3"/>
          <p:cNvSpPr>
            <a:spLocks noGrp="1"/>
          </p:cNvSpPr>
          <p:nvPr>
            <p:ph type="sldNum" sz="quarter" idx="5"/>
          </p:nvPr>
        </p:nvSpPr>
        <p:spPr/>
        <p:txBody>
          <a:bodyPr/>
          <a:lstStyle/>
          <a:p>
            <a:fld id="{DFEF0D5B-0ACC-482F-BD81-3363EB3EDBE0}" type="slidenum">
              <a:rPr lang="da-DK" smtClean="0"/>
              <a:t>23</a:t>
            </a:fld>
            <a:endParaRPr lang="da-DK"/>
          </a:p>
        </p:txBody>
      </p:sp>
    </p:spTree>
    <p:extLst>
      <p:ext uri="{BB962C8B-B14F-4D97-AF65-F5344CB8AC3E}">
        <p14:creationId xmlns:p14="http://schemas.microsoft.com/office/powerpoint/2010/main" val="7744190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Dette er et helt enkelt eksempel, i Røde Kors’ regnskab er der fire aktive dimensioner: Aktiviteter, Lokale aktiviteter, Midler, Sted/Køretøjer.</a:t>
            </a:r>
          </a:p>
        </p:txBody>
      </p:sp>
      <p:sp>
        <p:nvSpPr>
          <p:cNvPr id="4" name="Pladsholder til slidenummer 3"/>
          <p:cNvSpPr>
            <a:spLocks noGrp="1"/>
          </p:cNvSpPr>
          <p:nvPr>
            <p:ph type="sldNum" sz="quarter" idx="5"/>
          </p:nvPr>
        </p:nvSpPr>
        <p:spPr/>
        <p:txBody>
          <a:bodyPr/>
          <a:lstStyle/>
          <a:p>
            <a:fld id="{DFEF0D5B-0ACC-482F-BD81-3363EB3EDBE0}" type="slidenum">
              <a:rPr lang="da-DK" smtClean="0"/>
              <a:t>24</a:t>
            </a:fld>
            <a:endParaRPr lang="da-DK"/>
          </a:p>
        </p:txBody>
      </p:sp>
    </p:spTree>
    <p:extLst>
      <p:ext uri="{BB962C8B-B14F-4D97-AF65-F5344CB8AC3E}">
        <p14:creationId xmlns:p14="http://schemas.microsoft.com/office/powerpoint/2010/main" val="27520119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DFEF0D5B-0ACC-482F-BD81-3363EB3EDBE0}" type="slidenum">
              <a:rPr lang="da-DK" smtClean="0"/>
              <a:t>25</a:t>
            </a:fld>
            <a:endParaRPr lang="da-DK"/>
          </a:p>
        </p:txBody>
      </p:sp>
    </p:spTree>
    <p:extLst>
      <p:ext uri="{BB962C8B-B14F-4D97-AF65-F5344CB8AC3E}">
        <p14:creationId xmlns:p14="http://schemas.microsoft.com/office/powerpoint/2010/main" val="262382909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DFEF0D5B-0ACC-482F-BD81-3363EB3EDBE0}" type="slidenum">
              <a:rPr lang="da-DK" smtClean="0"/>
              <a:t>26</a:t>
            </a:fld>
            <a:endParaRPr lang="da-DK"/>
          </a:p>
        </p:txBody>
      </p:sp>
    </p:spTree>
    <p:extLst>
      <p:ext uri="{BB962C8B-B14F-4D97-AF65-F5344CB8AC3E}">
        <p14:creationId xmlns:p14="http://schemas.microsoft.com/office/powerpoint/2010/main" val="288884685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Kontoplanen er den samme for alle afdelinger og kan derfor ikke ændres af de enkelte kasserere.</a:t>
            </a:r>
          </a:p>
          <a:p>
            <a:endParaRPr lang="da-DK" dirty="0"/>
          </a:p>
          <a:p>
            <a:r>
              <a:rPr lang="da-DK" dirty="0"/>
              <a:t>Kan med fordel demonstreres i Uniconta – medtaget her med henblik på præsentationens brug som vejledning</a:t>
            </a:r>
          </a:p>
        </p:txBody>
      </p:sp>
      <p:sp>
        <p:nvSpPr>
          <p:cNvPr id="4" name="Pladsholder til slidenummer 3"/>
          <p:cNvSpPr>
            <a:spLocks noGrp="1"/>
          </p:cNvSpPr>
          <p:nvPr>
            <p:ph type="sldNum" sz="quarter" idx="5"/>
          </p:nvPr>
        </p:nvSpPr>
        <p:spPr/>
        <p:txBody>
          <a:bodyPr/>
          <a:lstStyle/>
          <a:p>
            <a:fld id="{DFEF0D5B-0ACC-482F-BD81-3363EB3EDBE0}" type="slidenum">
              <a:rPr lang="da-DK" smtClean="0"/>
              <a:t>27</a:t>
            </a:fld>
            <a:endParaRPr lang="da-DK"/>
          </a:p>
        </p:txBody>
      </p:sp>
    </p:spTree>
    <p:extLst>
      <p:ext uri="{BB962C8B-B14F-4D97-AF65-F5344CB8AC3E}">
        <p14:creationId xmlns:p14="http://schemas.microsoft.com/office/powerpoint/2010/main" val="118369304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Kontoplanen er den samme for alle afdelinger og kan derfor ikke ændres af de enkelte kasserere.</a:t>
            </a:r>
          </a:p>
          <a:p>
            <a:endParaRPr lang="da-DK" dirty="0"/>
          </a:p>
          <a:p>
            <a:r>
              <a:rPr lang="da-DK" dirty="0"/>
              <a:t>Kan med fordel demonstreres i Uniconta – medtaget her med henblik på præsentationens brug som vejledning</a:t>
            </a:r>
          </a:p>
          <a:p>
            <a:endParaRPr lang="da-DK" dirty="0"/>
          </a:p>
        </p:txBody>
      </p:sp>
      <p:sp>
        <p:nvSpPr>
          <p:cNvPr id="4" name="Pladsholder til slidenummer 3"/>
          <p:cNvSpPr>
            <a:spLocks noGrp="1"/>
          </p:cNvSpPr>
          <p:nvPr>
            <p:ph type="sldNum" sz="quarter" idx="5"/>
          </p:nvPr>
        </p:nvSpPr>
        <p:spPr/>
        <p:txBody>
          <a:bodyPr/>
          <a:lstStyle/>
          <a:p>
            <a:fld id="{DFEF0D5B-0ACC-482F-BD81-3363EB3EDBE0}" type="slidenum">
              <a:rPr lang="da-DK" smtClean="0"/>
              <a:t>28</a:t>
            </a:fld>
            <a:endParaRPr lang="da-DK"/>
          </a:p>
        </p:txBody>
      </p:sp>
    </p:spTree>
    <p:extLst>
      <p:ext uri="{BB962C8B-B14F-4D97-AF65-F5344CB8AC3E}">
        <p14:creationId xmlns:p14="http://schemas.microsoft.com/office/powerpoint/2010/main" val="89602318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Der skal altid vælges en af dimensionerne i listen Aktiviteter ved bogføring på konti 1010 til 6090. </a:t>
            </a:r>
          </a:p>
          <a:p>
            <a:r>
              <a:rPr lang="da-DK" dirty="0"/>
              <a:t>Listen er den samme for alle afdelinger og kan derfor ikke ændres af den enkelte kasserer. </a:t>
            </a:r>
          </a:p>
          <a:p>
            <a:r>
              <a:rPr lang="da-DK" dirty="0"/>
              <a:t>Derimod kan der tilføjes dimensioner efter ønske til de øvrige tre aktive dimensionslister, Lokale aktiviteter, Midler og Sted/Køretøjer.</a:t>
            </a:r>
          </a:p>
          <a:p>
            <a:endParaRPr lang="da-DK" dirty="0"/>
          </a:p>
          <a:p>
            <a:r>
              <a:rPr lang="da-DK" dirty="0"/>
              <a:t>Kan med fordel demonstreres i Uniconta – medtaget her med henblik på præsentationens brug som vejledning</a:t>
            </a:r>
          </a:p>
          <a:p>
            <a:endParaRPr lang="da-DK" dirty="0"/>
          </a:p>
        </p:txBody>
      </p:sp>
      <p:sp>
        <p:nvSpPr>
          <p:cNvPr id="4" name="Pladsholder til slidenummer 3"/>
          <p:cNvSpPr>
            <a:spLocks noGrp="1"/>
          </p:cNvSpPr>
          <p:nvPr>
            <p:ph type="sldNum" sz="quarter" idx="5"/>
          </p:nvPr>
        </p:nvSpPr>
        <p:spPr/>
        <p:txBody>
          <a:bodyPr/>
          <a:lstStyle/>
          <a:p>
            <a:fld id="{DFEF0D5B-0ACC-482F-BD81-3363EB3EDBE0}" type="slidenum">
              <a:rPr lang="da-DK" smtClean="0"/>
              <a:t>29</a:t>
            </a:fld>
            <a:endParaRPr lang="da-DK"/>
          </a:p>
        </p:txBody>
      </p:sp>
    </p:spTree>
    <p:extLst>
      <p:ext uri="{BB962C8B-B14F-4D97-AF65-F5344CB8AC3E}">
        <p14:creationId xmlns:p14="http://schemas.microsoft.com/office/powerpoint/2010/main" val="140227115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defTabSz="947860">
              <a:defRPr/>
            </a:pPr>
            <a:r>
              <a:rPr lang="da-DK" dirty="0"/>
              <a:t>Kan med fordel demonstreres i Uniconta – medtaget her med henblik på præsentationens brug som vejledning</a:t>
            </a:r>
          </a:p>
          <a:p>
            <a:endParaRPr lang="da-DK" dirty="0"/>
          </a:p>
        </p:txBody>
      </p:sp>
      <p:sp>
        <p:nvSpPr>
          <p:cNvPr id="4" name="Pladsholder til slidenummer 3"/>
          <p:cNvSpPr>
            <a:spLocks noGrp="1"/>
          </p:cNvSpPr>
          <p:nvPr>
            <p:ph type="sldNum" sz="quarter" idx="5"/>
          </p:nvPr>
        </p:nvSpPr>
        <p:spPr/>
        <p:txBody>
          <a:bodyPr/>
          <a:lstStyle/>
          <a:p>
            <a:fld id="{DFEF0D5B-0ACC-482F-BD81-3363EB3EDBE0}" type="slidenum">
              <a:rPr lang="da-DK" smtClean="0"/>
              <a:t>30</a:t>
            </a:fld>
            <a:endParaRPr lang="da-DK"/>
          </a:p>
        </p:txBody>
      </p:sp>
    </p:spTree>
    <p:extLst>
      <p:ext uri="{BB962C8B-B14F-4D97-AF65-F5344CB8AC3E}">
        <p14:creationId xmlns:p14="http://schemas.microsoft.com/office/powerpoint/2010/main" val="12522504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Underviser</a:t>
            </a:r>
            <a:r>
              <a:rPr lang="en-US" dirty="0"/>
              <a:t> giver </a:t>
            </a:r>
            <a:r>
              <a:rPr lang="en-US" dirty="0" err="1"/>
              <a:t>kort</a:t>
            </a:r>
            <a:r>
              <a:rPr lang="en-US" dirty="0"/>
              <a:t> </a:t>
            </a:r>
            <a:r>
              <a:rPr lang="en-US" dirty="0" err="1"/>
              <a:t>præsentation</a:t>
            </a:r>
            <a:r>
              <a:rPr lang="en-US" dirty="0"/>
              <a:t> </a:t>
            </a:r>
            <a:r>
              <a:rPr lang="en-US" dirty="0" err="1"/>
              <a:t>af</a:t>
            </a:r>
            <a:r>
              <a:rPr lang="en-US" dirty="0"/>
              <a:t> sig </a:t>
            </a:r>
            <a:r>
              <a:rPr lang="en-US" dirty="0" err="1"/>
              <a:t>selv</a:t>
            </a:r>
            <a:r>
              <a:rPr lang="en-US" dirty="0"/>
              <a:t> + team</a:t>
            </a:r>
          </a:p>
          <a:p>
            <a:endParaRPr lang="en-US" dirty="0"/>
          </a:p>
          <a:p>
            <a:r>
              <a:rPr lang="en-US" dirty="0" err="1"/>
              <a:t>Vedr</a:t>
            </a:r>
            <a:r>
              <a:rPr lang="en-US" dirty="0"/>
              <a:t>. forsikring </a:t>
            </a:r>
            <a:r>
              <a:rPr lang="en-US" dirty="0" err="1"/>
              <a:t>kontakt</a:t>
            </a:r>
            <a:r>
              <a:rPr lang="en-US" dirty="0"/>
              <a:t> forsikring@rodekors.dk </a:t>
            </a:r>
          </a:p>
          <a:p>
            <a:endParaRPr lang="en-US" dirty="0"/>
          </a:p>
          <a:p>
            <a:r>
              <a:rPr lang="en-US" dirty="0" err="1"/>
              <a:t>Vedr</a:t>
            </a:r>
            <a:r>
              <a:rPr lang="en-US" dirty="0"/>
              <a:t>. </a:t>
            </a:r>
            <a:r>
              <a:rPr lang="en-US" dirty="0" err="1"/>
              <a:t>juridiske</a:t>
            </a:r>
            <a:r>
              <a:rPr lang="en-US" dirty="0"/>
              <a:t> </a:t>
            </a:r>
            <a:r>
              <a:rPr lang="en-US" dirty="0" err="1"/>
              <a:t>spørgsmål</a:t>
            </a:r>
            <a:r>
              <a:rPr lang="en-US" dirty="0"/>
              <a:t> (</a:t>
            </a:r>
            <a:r>
              <a:rPr lang="en-US" dirty="0" err="1"/>
              <a:t>fx</a:t>
            </a:r>
            <a:r>
              <a:rPr lang="en-US" dirty="0"/>
              <a:t> </a:t>
            </a:r>
            <a:r>
              <a:rPr lang="en-US" dirty="0" err="1"/>
              <a:t>kontrakter</a:t>
            </a:r>
            <a:r>
              <a:rPr lang="en-US" dirty="0"/>
              <a:t>) </a:t>
            </a:r>
            <a:r>
              <a:rPr lang="en-US" dirty="0" err="1"/>
              <a:t>kontakt</a:t>
            </a:r>
            <a:r>
              <a:rPr lang="en-US" dirty="0"/>
              <a:t> jura@rodekors.dk</a:t>
            </a:r>
            <a:endParaRPr lang="en-US" dirty="0">
              <a:cs typeface="Calibri"/>
            </a:endParaRPr>
          </a:p>
          <a:p>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fld id="{4B8FE31F-F207-4293-B9B8-50667260F72F}" type="slidenum">
              <a:rPr lang="en-US" smtClean="0"/>
              <a:t>4</a:t>
            </a:fld>
            <a:endParaRPr lang="en-US"/>
          </a:p>
        </p:txBody>
      </p:sp>
    </p:spTree>
    <p:extLst>
      <p:ext uri="{BB962C8B-B14F-4D97-AF65-F5344CB8AC3E}">
        <p14:creationId xmlns:p14="http://schemas.microsoft.com/office/powerpoint/2010/main" val="388469191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DFEF0D5B-0ACC-482F-BD81-3363EB3EDBE0}" type="slidenum">
              <a:rPr lang="da-DK" smtClean="0"/>
              <a:t>31</a:t>
            </a:fld>
            <a:endParaRPr lang="da-DK"/>
          </a:p>
        </p:txBody>
      </p:sp>
    </p:spTree>
    <p:extLst>
      <p:ext uri="{BB962C8B-B14F-4D97-AF65-F5344CB8AC3E}">
        <p14:creationId xmlns:p14="http://schemas.microsoft.com/office/powerpoint/2010/main" val="352390533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DFEF0D5B-0ACC-482F-BD81-3363EB3EDBE0}" type="slidenum">
              <a:rPr lang="da-DK" smtClean="0"/>
              <a:t>32</a:t>
            </a:fld>
            <a:endParaRPr lang="da-DK"/>
          </a:p>
        </p:txBody>
      </p:sp>
    </p:spTree>
    <p:extLst>
      <p:ext uri="{BB962C8B-B14F-4D97-AF65-F5344CB8AC3E}">
        <p14:creationId xmlns:p14="http://schemas.microsoft.com/office/powerpoint/2010/main" val="406324262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DFEF0D5B-0ACC-482F-BD81-3363EB3EDBE0}" type="slidenum">
              <a:rPr lang="da-DK" smtClean="0"/>
              <a:t>33</a:t>
            </a:fld>
            <a:endParaRPr lang="da-DK"/>
          </a:p>
        </p:txBody>
      </p:sp>
    </p:spTree>
    <p:extLst>
      <p:ext uri="{BB962C8B-B14F-4D97-AF65-F5344CB8AC3E}">
        <p14:creationId xmlns:p14="http://schemas.microsoft.com/office/powerpoint/2010/main" val="92242861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DFEF0D5B-0ACC-482F-BD81-3363EB3EDBE0}" type="slidenum">
              <a:rPr lang="da-DK" smtClean="0"/>
              <a:t>34</a:t>
            </a:fld>
            <a:endParaRPr lang="da-DK"/>
          </a:p>
        </p:txBody>
      </p:sp>
    </p:spTree>
    <p:extLst>
      <p:ext uri="{BB962C8B-B14F-4D97-AF65-F5344CB8AC3E}">
        <p14:creationId xmlns:p14="http://schemas.microsoft.com/office/powerpoint/2010/main" val="81700516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DFEF0D5B-0ACC-482F-BD81-3363EB3EDBE0}" type="slidenum">
              <a:rPr lang="da-DK" smtClean="0"/>
              <a:t>35</a:t>
            </a:fld>
            <a:endParaRPr lang="da-DK"/>
          </a:p>
        </p:txBody>
      </p:sp>
    </p:spTree>
    <p:extLst>
      <p:ext uri="{BB962C8B-B14F-4D97-AF65-F5344CB8AC3E}">
        <p14:creationId xmlns:p14="http://schemas.microsoft.com/office/powerpoint/2010/main" val="91453456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DFEF0D5B-0ACC-482F-BD81-3363EB3EDBE0}" type="slidenum">
              <a:rPr lang="da-DK" smtClean="0"/>
              <a:t>36</a:t>
            </a:fld>
            <a:endParaRPr lang="da-DK"/>
          </a:p>
        </p:txBody>
      </p:sp>
    </p:spTree>
    <p:extLst>
      <p:ext uri="{BB962C8B-B14F-4D97-AF65-F5344CB8AC3E}">
        <p14:creationId xmlns:p14="http://schemas.microsoft.com/office/powerpoint/2010/main" val="303802003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DFEF0D5B-0ACC-482F-BD81-3363EB3EDBE0}" type="slidenum">
              <a:rPr lang="da-DK" smtClean="0"/>
              <a:t>37</a:t>
            </a:fld>
            <a:endParaRPr lang="da-DK"/>
          </a:p>
        </p:txBody>
      </p:sp>
    </p:spTree>
    <p:extLst>
      <p:ext uri="{BB962C8B-B14F-4D97-AF65-F5344CB8AC3E}">
        <p14:creationId xmlns:p14="http://schemas.microsoft.com/office/powerpoint/2010/main" val="39995437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fld id="{DFEF0D5B-0ACC-482F-BD81-3363EB3EDBE0}" type="slidenum">
              <a:rPr lang="da-DK" smtClean="0"/>
              <a:t>38</a:t>
            </a:fld>
            <a:endParaRPr lang="da-DK"/>
          </a:p>
        </p:txBody>
      </p:sp>
    </p:spTree>
    <p:extLst>
      <p:ext uri="{BB962C8B-B14F-4D97-AF65-F5344CB8AC3E}">
        <p14:creationId xmlns:p14="http://schemas.microsoft.com/office/powerpoint/2010/main" val="218113876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Nets-afregning skal bogføres manuelt uanset evt. </a:t>
            </a:r>
            <a:r>
              <a:rPr lang="da-DK" dirty="0" err="1"/>
              <a:t>FlexPOS</a:t>
            </a:r>
            <a:r>
              <a:rPr lang="da-DK" dirty="0"/>
              <a:t>-integration.</a:t>
            </a:r>
          </a:p>
          <a:p>
            <a:r>
              <a:rPr lang="da-DK" dirty="0"/>
              <a:t>OBS – Aktiviteter-koden her er et eksempel, i regnskabet bruges koden/koderne for afdelingens egen/egne butik(ker).</a:t>
            </a:r>
          </a:p>
        </p:txBody>
      </p:sp>
      <p:sp>
        <p:nvSpPr>
          <p:cNvPr id="4" name="Pladsholder til slidenummer 3"/>
          <p:cNvSpPr>
            <a:spLocks noGrp="1"/>
          </p:cNvSpPr>
          <p:nvPr>
            <p:ph type="sldNum" sz="quarter" idx="5"/>
          </p:nvPr>
        </p:nvSpPr>
        <p:spPr/>
        <p:txBody>
          <a:bodyPr/>
          <a:lstStyle/>
          <a:p>
            <a:fld id="{DFEF0D5B-0ACC-482F-BD81-3363EB3EDBE0}" type="slidenum">
              <a:rPr lang="da-DK" smtClean="0"/>
              <a:t>39</a:t>
            </a:fld>
            <a:endParaRPr lang="da-DK"/>
          </a:p>
        </p:txBody>
      </p:sp>
    </p:spTree>
    <p:extLst>
      <p:ext uri="{BB962C8B-B14F-4D97-AF65-F5344CB8AC3E}">
        <p14:creationId xmlns:p14="http://schemas.microsoft.com/office/powerpoint/2010/main" val="77346907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a:t>Demonstration og </a:t>
            </a:r>
            <a:r>
              <a:rPr lang="da-DK" err="1"/>
              <a:t>hands-on</a:t>
            </a:r>
            <a:r>
              <a:rPr lang="da-DK"/>
              <a:t> kan springes over efter omstændighederne</a:t>
            </a:r>
          </a:p>
        </p:txBody>
      </p:sp>
      <p:sp>
        <p:nvSpPr>
          <p:cNvPr id="4" name="Pladsholder til slidenummer 3"/>
          <p:cNvSpPr>
            <a:spLocks noGrp="1"/>
          </p:cNvSpPr>
          <p:nvPr>
            <p:ph type="sldNum" sz="quarter" idx="5"/>
          </p:nvPr>
        </p:nvSpPr>
        <p:spPr/>
        <p:txBody>
          <a:bodyPr/>
          <a:lstStyle/>
          <a:p>
            <a:fld id="{DFEF0D5B-0ACC-482F-BD81-3363EB3EDBE0}" type="slidenum">
              <a:rPr lang="da-DK" smtClean="0"/>
              <a:t>40</a:t>
            </a:fld>
            <a:endParaRPr lang="da-DK"/>
          </a:p>
        </p:txBody>
      </p:sp>
    </p:spTree>
    <p:extLst>
      <p:ext uri="{BB962C8B-B14F-4D97-AF65-F5344CB8AC3E}">
        <p14:creationId xmlns:p14="http://schemas.microsoft.com/office/powerpoint/2010/main" val="10573616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a:t>
            </a:r>
            <a:r>
              <a:rPr lang="en-US"/>
              <a:t>avnerunde</a:t>
            </a:r>
            <a:r>
              <a:rPr lang="en-US" dirty="0"/>
              <a:t> og </a:t>
            </a:r>
            <a:r>
              <a:rPr lang="en-US" dirty="0" err="1"/>
              <a:t>kort</a:t>
            </a:r>
            <a:r>
              <a:rPr lang="en-US" dirty="0"/>
              <a:t> </a:t>
            </a:r>
            <a:r>
              <a:rPr lang="en-US" dirty="0" err="1"/>
              <a:t>præsentation</a:t>
            </a:r>
            <a:r>
              <a:rPr lang="en-US" dirty="0"/>
              <a:t> </a:t>
            </a:r>
            <a:r>
              <a:rPr lang="en-US" dirty="0" err="1"/>
              <a:t>af</a:t>
            </a:r>
            <a:r>
              <a:rPr lang="en-US" dirty="0"/>
              <a:t> </a:t>
            </a:r>
            <a:r>
              <a:rPr lang="en-US" dirty="0" err="1"/>
              <a:t>deltagere</a:t>
            </a:r>
            <a:r>
              <a:rPr lang="en-US" dirty="0"/>
              <a:t>.</a:t>
            </a:r>
          </a:p>
          <a:p>
            <a:endParaRPr lang="en-US" dirty="0"/>
          </a:p>
          <a:p>
            <a:endParaRPr lang="en-US" dirty="0">
              <a:cs typeface="Calibri"/>
            </a:endParaRPr>
          </a:p>
        </p:txBody>
      </p:sp>
      <p:sp>
        <p:nvSpPr>
          <p:cNvPr id="4" name="Slide Number Placeholder 3"/>
          <p:cNvSpPr>
            <a:spLocks noGrp="1"/>
          </p:cNvSpPr>
          <p:nvPr>
            <p:ph type="sldNum" sz="quarter" idx="5"/>
          </p:nvPr>
        </p:nvSpPr>
        <p:spPr/>
        <p:txBody>
          <a:bodyPr/>
          <a:lstStyle/>
          <a:p>
            <a:fld id="{4B8FE31F-F207-4293-B9B8-50667260F72F}" type="slidenum">
              <a:rPr lang="en-US" smtClean="0"/>
              <a:t>5</a:t>
            </a:fld>
            <a:endParaRPr lang="en-US"/>
          </a:p>
        </p:txBody>
      </p:sp>
    </p:spTree>
    <p:extLst>
      <p:ext uri="{BB962C8B-B14F-4D97-AF65-F5344CB8AC3E}">
        <p14:creationId xmlns:p14="http://schemas.microsoft.com/office/powerpoint/2010/main" val="149287969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Forslag til andre emner er meget velkomne.</a:t>
            </a:r>
          </a:p>
        </p:txBody>
      </p:sp>
      <p:sp>
        <p:nvSpPr>
          <p:cNvPr id="4" name="Pladsholder til slidenummer 3"/>
          <p:cNvSpPr>
            <a:spLocks noGrp="1"/>
          </p:cNvSpPr>
          <p:nvPr>
            <p:ph type="sldNum" sz="quarter" idx="5"/>
          </p:nvPr>
        </p:nvSpPr>
        <p:spPr/>
        <p:txBody>
          <a:bodyPr/>
          <a:lstStyle/>
          <a:p>
            <a:fld id="{DFEF0D5B-0ACC-482F-BD81-3363EB3EDBE0}" type="slidenum">
              <a:rPr lang="da-DK" smtClean="0"/>
              <a:t>41</a:t>
            </a:fld>
            <a:endParaRPr lang="da-DK"/>
          </a:p>
        </p:txBody>
      </p:sp>
    </p:spTree>
    <p:extLst>
      <p:ext uri="{BB962C8B-B14F-4D97-AF65-F5344CB8AC3E}">
        <p14:creationId xmlns:p14="http://schemas.microsoft.com/office/powerpoint/2010/main" val="89294187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DFEF0D5B-0ACC-482F-BD81-3363EB3EDBE0}" type="slidenum">
              <a:rPr lang="da-DK" smtClean="0"/>
              <a:t>42</a:t>
            </a:fld>
            <a:endParaRPr lang="da-DK"/>
          </a:p>
        </p:txBody>
      </p:sp>
    </p:spTree>
    <p:extLst>
      <p:ext uri="{BB962C8B-B14F-4D97-AF65-F5344CB8AC3E}">
        <p14:creationId xmlns:p14="http://schemas.microsoft.com/office/powerpoint/2010/main" val="330469147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4B8FE31F-F207-4293-B9B8-50667260F72F}" type="slidenum">
              <a:rPr lang="en-US" smtClean="0"/>
              <a:t>43</a:t>
            </a:fld>
            <a:endParaRPr lang="en-US"/>
          </a:p>
        </p:txBody>
      </p:sp>
    </p:spTree>
    <p:extLst>
      <p:ext uri="{BB962C8B-B14F-4D97-AF65-F5344CB8AC3E}">
        <p14:creationId xmlns:p14="http://schemas.microsoft.com/office/powerpoint/2010/main" val="20377033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4B8FE31F-F207-4293-B9B8-50667260F72F}" type="slidenum">
              <a:rPr lang="en-US" smtClean="0"/>
              <a:t>6</a:t>
            </a:fld>
            <a:endParaRPr lang="en-US"/>
          </a:p>
        </p:txBody>
      </p:sp>
    </p:spTree>
    <p:extLst>
      <p:ext uri="{BB962C8B-B14F-4D97-AF65-F5344CB8AC3E}">
        <p14:creationId xmlns:p14="http://schemas.microsoft.com/office/powerpoint/2010/main" val="20123204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DFEF0D5B-0ACC-482F-BD81-3363EB3EDBE0}" type="slidenum">
              <a:rPr lang="da-DK" smtClean="0"/>
              <a:t>7</a:t>
            </a:fld>
            <a:endParaRPr lang="da-DK"/>
          </a:p>
        </p:txBody>
      </p:sp>
    </p:spTree>
    <p:extLst>
      <p:ext uri="{BB962C8B-B14F-4D97-AF65-F5344CB8AC3E}">
        <p14:creationId xmlns:p14="http://schemas.microsoft.com/office/powerpoint/2010/main" val="24508566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fld id="{DFEF0D5B-0ACC-482F-BD81-3363EB3EDBE0}" type="slidenum">
              <a:rPr lang="da-DK" smtClean="0"/>
              <a:t>8</a:t>
            </a:fld>
            <a:endParaRPr lang="da-DK"/>
          </a:p>
        </p:txBody>
      </p:sp>
    </p:spTree>
    <p:extLst>
      <p:ext uri="{BB962C8B-B14F-4D97-AF65-F5344CB8AC3E}">
        <p14:creationId xmlns:p14="http://schemas.microsoft.com/office/powerpoint/2010/main" val="41395644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t>Opfordring til at læse økonomivejledningen;-)</a:t>
            </a:r>
          </a:p>
        </p:txBody>
      </p:sp>
      <p:sp>
        <p:nvSpPr>
          <p:cNvPr id="4" name="Pladsholder til slidenummer 3"/>
          <p:cNvSpPr>
            <a:spLocks noGrp="1"/>
          </p:cNvSpPr>
          <p:nvPr>
            <p:ph type="sldNum" sz="quarter" idx="5"/>
          </p:nvPr>
        </p:nvSpPr>
        <p:spPr/>
        <p:txBody>
          <a:bodyPr/>
          <a:lstStyle/>
          <a:p>
            <a:fld id="{DFEF0D5B-0ACC-482F-BD81-3363EB3EDBE0}" type="slidenum">
              <a:rPr lang="da-DK" smtClean="0"/>
              <a:t>9</a:t>
            </a:fld>
            <a:endParaRPr lang="da-DK"/>
          </a:p>
        </p:txBody>
      </p:sp>
    </p:spTree>
    <p:extLst>
      <p:ext uri="{BB962C8B-B14F-4D97-AF65-F5344CB8AC3E}">
        <p14:creationId xmlns:p14="http://schemas.microsoft.com/office/powerpoint/2010/main" val="26241258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7860">
              <a:defRPr/>
            </a:pPr>
            <a:r>
              <a:rPr lang="da-DK" dirty="0"/>
              <a:t>Revisionskrav: over 1 mio. kr. – aktiv </a:t>
            </a:r>
            <a:r>
              <a:rPr lang="da-DK" dirty="0" err="1"/>
              <a:t>reg</a:t>
            </a:r>
            <a:r>
              <a:rPr lang="da-DK" dirty="0"/>
              <a:t>./aut. revisor</a:t>
            </a:r>
          </a:p>
        </p:txBody>
      </p:sp>
      <p:sp>
        <p:nvSpPr>
          <p:cNvPr id="4" name="Slide Number Placeholder 3"/>
          <p:cNvSpPr>
            <a:spLocks noGrp="1"/>
          </p:cNvSpPr>
          <p:nvPr>
            <p:ph type="sldNum" sz="quarter" idx="5"/>
          </p:nvPr>
        </p:nvSpPr>
        <p:spPr/>
        <p:txBody>
          <a:bodyPr/>
          <a:lstStyle/>
          <a:p>
            <a:fld id="{286FDC86-23C9-487F-A856-5CBF8F0CCAE4}" type="slidenum">
              <a:rPr lang="da-DK" smtClean="0"/>
              <a:pPr/>
              <a:t>10</a:t>
            </a:fld>
            <a:endParaRPr lang="da-DK"/>
          </a:p>
        </p:txBody>
      </p:sp>
    </p:spTree>
    <p:extLst>
      <p:ext uri="{BB962C8B-B14F-4D97-AF65-F5344CB8AC3E}">
        <p14:creationId xmlns:p14="http://schemas.microsoft.com/office/powerpoint/2010/main" val="33224943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slide">
    <p:spTree>
      <p:nvGrpSpPr>
        <p:cNvPr id="1" name=""/>
        <p:cNvGrpSpPr/>
        <p:nvPr/>
      </p:nvGrpSpPr>
      <p:grpSpPr>
        <a:xfrm>
          <a:off x="0" y="0"/>
          <a:ext cx="0" cy="0"/>
          <a:chOff x="0" y="0"/>
          <a:chExt cx="0" cy="0"/>
        </a:xfrm>
      </p:grpSpPr>
      <p:sp>
        <p:nvSpPr>
          <p:cNvPr id="8" name="Rectangle 5">
            <a:extLst>
              <a:ext uri="{FF2B5EF4-FFF2-40B4-BE49-F238E27FC236}">
                <a16:creationId xmlns:a16="http://schemas.microsoft.com/office/drawing/2014/main" id="{BE3396B8-98F6-40CB-8595-708C962A143B}"/>
              </a:ext>
            </a:extLst>
          </p:cNvPr>
          <p:cNvSpPr/>
          <p:nvPr userDrawn="1"/>
        </p:nvSpPr>
        <p:spPr>
          <a:xfrm>
            <a:off x="-3600" y="-3599"/>
            <a:ext cx="12195600" cy="6298074"/>
          </a:xfrm>
          <a:prstGeom prst="rect">
            <a:avLst/>
          </a:prstGeom>
          <a:solidFill>
            <a:srgbClr val="FAE3E9"/>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a:p>
        </p:txBody>
      </p:sp>
      <p:sp>
        <p:nvSpPr>
          <p:cNvPr id="2" name="Titel 1">
            <a:extLst>
              <a:ext uri="{FF2B5EF4-FFF2-40B4-BE49-F238E27FC236}">
                <a16:creationId xmlns:a16="http://schemas.microsoft.com/office/drawing/2014/main" id="{6033D1B4-0196-44A3-957E-887EE2A70BEA}"/>
              </a:ext>
            </a:extLst>
          </p:cNvPr>
          <p:cNvSpPr>
            <a:spLocks noGrp="1"/>
          </p:cNvSpPr>
          <p:nvPr>
            <p:ph type="ctrTitle" hasCustomPrompt="1"/>
          </p:nvPr>
        </p:nvSpPr>
        <p:spPr>
          <a:xfrm>
            <a:off x="838199" y="563525"/>
            <a:ext cx="10515599" cy="2169275"/>
          </a:xfrm>
        </p:spPr>
        <p:txBody>
          <a:bodyPr anchor="t">
            <a:normAutofit/>
          </a:bodyPr>
          <a:lstStyle>
            <a:lvl1pPr algn="ctr">
              <a:defRPr sz="7000" cap="all" baseline="0"/>
            </a:lvl1pPr>
          </a:lstStyle>
          <a:p>
            <a:r>
              <a:rPr lang="da-DK"/>
              <a:t>redigere titeltypografien</a:t>
            </a:r>
          </a:p>
        </p:txBody>
      </p:sp>
      <p:sp>
        <p:nvSpPr>
          <p:cNvPr id="3" name="Undertitel 2">
            <a:extLst>
              <a:ext uri="{FF2B5EF4-FFF2-40B4-BE49-F238E27FC236}">
                <a16:creationId xmlns:a16="http://schemas.microsoft.com/office/drawing/2014/main" id="{AAD332BF-A36D-4879-BB28-5B2C36651B49}"/>
              </a:ext>
            </a:extLst>
          </p:cNvPr>
          <p:cNvSpPr>
            <a:spLocks noGrp="1"/>
          </p:cNvSpPr>
          <p:nvPr>
            <p:ph type="subTitle" idx="1"/>
          </p:nvPr>
        </p:nvSpPr>
        <p:spPr>
          <a:xfrm>
            <a:off x="838199" y="4848451"/>
            <a:ext cx="10515599" cy="696433"/>
          </a:xfrm>
        </p:spPr>
        <p:txBody>
          <a:bodyPr>
            <a:noAutofit/>
          </a:bodyPr>
          <a:lstStyle>
            <a:lvl1pPr marL="0" indent="0" algn="ct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p>
        </p:txBody>
      </p:sp>
      <p:sp>
        <p:nvSpPr>
          <p:cNvPr id="5" name="Pladsholder til sidefod 4">
            <a:extLst>
              <a:ext uri="{FF2B5EF4-FFF2-40B4-BE49-F238E27FC236}">
                <a16:creationId xmlns:a16="http://schemas.microsoft.com/office/drawing/2014/main" id="{434353D4-74B6-4D50-AF8C-B1FC66B8F17F}"/>
              </a:ext>
            </a:extLst>
          </p:cNvPr>
          <p:cNvSpPr>
            <a:spLocks noGrp="1"/>
          </p:cNvSpPr>
          <p:nvPr>
            <p:ph type="ftr" sz="quarter" idx="11"/>
          </p:nvPr>
        </p:nvSpPr>
        <p:spPr/>
        <p:txBody>
          <a:bodyPr/>
          <a:lstStyle/>
          <a:p>
            <a:r>
              <a:rPr lang="da-DK"/>
              <a:t>RØDE KORS / Introduktionskursus for nye kasserere / 2025</a:t>
            </a:r>
          </a:p>
        </p:txBody>
      </p:sp>
      <p:pic>
        <p:nvPicPr>
          <p:cNvPr id="10" name="Picture 2" descr="D:\Transfer\RødeKors\PPT\logo\stor logo.wmf">
            <a:extLst>
              <a:ext uri="{FF2B5EF4-FFF2-40B4-BE49-F238E27FC236}">
                <a16:creationId xmlns:a16="http://schemas.microsoft.com/office/drawing/2014/main" id="{503C4F46-ECA7-47A6-B85B-747665D94C91}"/>
              </a:ext>
            </a:extLst>
          </p:cNvPr>
          <p:cNvPicPr>
            <a:picLocks noChangeAspect="1" noChangeArrowheads="1"/>
          </p:cNvPicPr>
          <p:nvPr userDrawn="1"/>
        </p:nvPicPr>
        <p:blipFill>
          <a:blip r:embed="rId2" cstate="screen"/>
          <a:srcRect/>
          <a:stretch>
            <a:fillRect/>
          </a:stretch>
        </p:blipFill>
        <p:spPr bwMode="auto">
          <a:xfrm>
            <a:off x="5617950" y="2779914"/>
            <a:ext cx="952500" cy="955675"/>
          </a:xfrm>
          <a:prstGeom prst="rect">
            <a:avLst/>
          </a:prstGeom>
          <a:noFill/>
        </p:spPr>
      </p:pic>
      <p:sp>
        <p:nvSpPr>
          <p:cNvPr id="12" name="TextBox 17">
            <a:extLst>
              <a:ext uri="{FF2B5EF4-FFF2-40B4-BE49-F238E27FC236}">
                <a16:creationId xmlns:a16="http://schemas.microsoft.com/office/drawing/2014/main" id="{744DF0FF-F73E-49C1-B64B-14E59BF873EC}"/>
              </a:ext>
            </a:extLst>
          </p:cNvPr>
          <p:cNvSpPr txBox="1">
            <a:spLocks noChangeArrowheads="1"/>
          </p:cNvSpPr>
          <p:nvPr userDrawn="1"/>
        </p:nvSpPr>
        <p:spPr bwMode="auto">
          <a:xfrm>
            <a:off x="-2370138" y="5700713"/>
            <a:ext cx="2281238" cy="1077218"/>
          </a:xfrm>
          <a:prstGeom prst="rect">
            <a:avLst/>
          </a:prstGeom>
          <a:noFill/>
          <a:ln w="9525">
            <a:noFill/>
            <a:miter lim="800000"/>
            <a:headEnd/>
            <a:tailEnd/>
          </a:ln>
        </p:spPr>
        <p:txBody>
          <a:bodyPr lIns="0" tIns="0" rIns="0" bIns="0">
            <a:spAutoFit/>
          </a:bodyPr>
          <a:lstStyle/>
          <a:p>
            <a:pPr algn="r"/>
            <a:r>
              <a:rPr lang="da-DK" sz="1000" b="1">
                <a:solidFill>
                  <a:schemeClr val="tx1"/>
                </a:solidFill>
              </a:rPr>
              <a:t>Titel og dato i sidefod:</a:t>
            </a:r>
          </a:p>
          <a:p>
            <a:pPr algn="r"/>
            <a:r>
              <a:rPr lang="da-DK" sz="1000">
                <a:solidFill>
                  <a:schemeClr val="tx1"/>
                </a:solidFill>
              </a:rPr>
              <a:t>1. Vælg ’Indsæt’ i </a:t>
            </a:r>
            <a:r>
              <a:rPr lang="da-DK" sz="1000" err="1">
                <a:solidFill>
                  <a:schemeClr val="tx1"/>
                </a:solidFill>
              </a:rPr>
              <a:t>topmenuen</a:t>
            </a:r>
            <a:endParaRPr lang="da-DK" sz="1000">
              <a:solidFill>
                <a:schemeClr val="tx1"/>
              </a:solidFill>
            </a:endParaRPr>
          </a:p>
          <a:p>
            <a:pPr algn="r"/>
            <a:r>
              <a:rPr lang="da-DK" sz="1000">
                <a:solidFill>
                  <a:schemeClr val="tx1"/>
                </a:solidFill>
              </a:rPr>
              <a:t>2. Vælg ’Sidehoved og Sidefod’</a:t>
            </a:r>
          </a:p>
          <a:p>
            <a:pPr algn="r"/>
            <a:r>
              <a:rPr lang="da-DK" sz="1000">
                <a:solidFill>
                  <a:schemeClr val="tx1"/>
                </a:solidFill>
              </a:rPr>
              <a:t>3. Skriv dato / titel på præsentation </a:t>
            </a:r>
            <a:br>
              <a:rPr lang="da-DK" sz="1000">
                <a:solidFill>
                  <a:schemeClr val="tx1"/>
                </a:solidFill>
              </a:rPr>
            </a:br>
            <a:r>
              <a:rPr lang="da-DK" sz="1000">
                <a:solidFill>
                  <a:schemeClr val="tx1"/>
                </a:solidFill>
              </a:rPr>
              <a:t>ind i </a:t>
            </a:r>
            <a:r>
              <a:rPr lang="da-DK" sz="1000" err="1">
                <a:solidFill>
                  <a:schemeClr val="tx1"/>
                </a:solidFill>
              </a:rPr>
              <a:t>sidefodfeltet</a:t>
            </a:r>
            <a:endParaRPr lang="da-DK" sz="1000">
              <a:solidFill>
                <a:schemeClr val="tx1"/>
              </a:solidFill>
            </a:endParaRPr>
          </a:p>
          <a:p>
            <a:pPr algn="r"/>
            <a:r>
              <a:rPr lang="da-DK" sz="1000">
                <a:solidFill>
                  <a:schemeClr val="tx1"/>
                </a:solidFill>
              </a:rPr>
              <a:t>4. Tryk ’anvend på alle’</a:t>
            </a:r>
          </a:p>
        </p:txBody>
      </p:sp>
    </p:spTree>
    <p:extLst>
      <p:ext uri="{BB962C8B-B14F-4D97-AF65-F5344CB8AC3E}">
        <p14:creationId xmlns:p14="http://schemas.microsoft.com/office/powerpoint/2010/main" val="21314674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agram and NO bullet poi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D28EF3-A0BD-4185-BBDE-E9CEB3DBBD08}"/>
              </a:ext>
            </a:extLst>
          </p:cNvPr>
          <p:cNvSpPr>
            <a:spLocks noGrp="1"/>
          </p:cNvSpPr>
          <p:nvPr>
            <p:ph type="title"/>
          </p:nvPr>
        </p:nvSpPr>
        <p:spPr>
          <a:xfrm>
            <a:off x="838200" y="723900"/>
            <a:ext cx="4975746" cy="966788"/>
          </a:xfrm>
        </p:spPr>
        <p:txBody>
          <a:bodyPr/>
          <a:lstStyle/>
          <a:p>
            <a:r>
              <a:rPr lang="da-DK"/>
              <a:t>Klik for at redigere titeltypografien</a:t>
            </a:r>
          </a:p>
        </p:txBody>
      </p:sp>
      <p:sp>
        <p:nvSpPr>
          <p:cNvPr id="3" name="Pladsholder til indhold 2">
            <a:extLst>
              <a:ext uri="{FF2B5EF4-FFF2-40B4-BE49-F238E27FC236}">
                <a16:creationId xmlns:a16="http://schemas.microsoft.com/office/drawing/2014/main" id="{CA6283E6-86E4-459A-ADEF-0528BFE12D39}"/>
              </a:ext>
            </a:extLst>
          </p:cNvPr>
          <p:cNvSpPr>
            <a:spLocks noGrp="1"/>
          </p:cNvSpPr>
          <p:nvPr>
            <p:ph sz="half" idx="1"/>
          </p:nvPr>
        </p:nvSpPr>
        <p:spPr>
          <a:xfrm>
            <a:off x="838200" y="1825625"/>
            <a:ext cx="4975746" cy="4118400"/>
          </a:xfrm>
        </p:spPr>
        <p:txBody>
          <a:bodyPr/>
          <a:lstStyle>
            <a:lvl1pPr marL="0" indent="0">
              <a:buNone/>
              <a:defRPr/>
            </a:lvl1pPr>
          </a:lstStyle>
          <a:p>
            <a:pPr lvl="0"/>
            <a:r>
              <a:rPr lang="da-DK"/>
              <a:t>Klik for at redigere teksttypografierne i masteren</a:t>
            </a:r>
          </a:p>
        </p:txBody>
      </p:sp>
      <p:sp>
        <p:nvSpPr>
          <p:cNvPr id="6" name="Pladsholder til sidefod 5">
            <a:extLst>
              <a:ext uri="{FF2B5EF4-FFF2-40B4-BE49-F238E27FC236}">
                <a16:creationId xmlns:a16="http://schemas.microsoft.com/office/drawing/2014/main" id="{BDC1DDF3-70E8-4DD1-B029-97B3D663625A}"/>
              </a:ext>
            </a:extLst>
          </p:cNvPr>
          <p:cNvSpPr>
            <a:spLocks noGrp="1"/>
          </p:cNvSpPr>
          <p:nvPr>
            <p:ph type="ftr" sz="quarter" idx="11"/>
          </p:nvPr>
        </p:nvSpPr>
        <p:spPr/>
        <p:txBody>
          <a:bodyPr/>
          <a:lstStyle/>
          <a:p>
            <a:r>
              <a:rPr lang="da-DK"/>
              <a:t>RØDE KORS / Introduktionskursus for nye kasserere / 2025</a:t>
            </a:r>
          </a:p>
        </p:txBody>
      </p:sp>
      <p:pic>
        <p:nvPicPr>
          <p:cNvPr id="9" name="Picture 2" descr="D:\Transfer\RødeKors\PPT\logo\lille logo.wmf">
            <a:extLst>
              <a:ext uri="{FF2B5EF4-FFF2-40B4-BE49-F238E27FC236}">
                <a16:creationId xmlns:a16="http://schemas.microsoft.com/office/drawing/2014/main" id="{521A36FA-58A2-487E-A63F-67DAF8CB0529}"/>
              </a:ext>
            </a:extLst>
          </p:cNvPr>
          <p:cNvPicPr>
            <a:picLocks noChangeAspect="1" noChangeArrowheads="1"/>
          </p:cNvPicPr>
          <p:nvPr userDrawn="1"/>
        </p:nvPicPr>
        <p:blipFill>
          <a:blip r:embed="rId2" cstate="screen"/>
          <a:srcRect/>
          <a:stretch>
            <a:fillRect/>
          </a:stretch>
        </p:blipFill>
        <p:spPr bwMode="auto">
          <a:xfrm>
            <a:off x="5930902" y="274934"/>
            <a:ext cx="349250" cy="349250"/>
          </a:xfrm>
          <a:prstGeom prst="rect">
            <a:avLst/>
          </a:prstGeom>
          <a:noFill/>
        </p:spPr>
      </p:pic>
      <p:sp>
        <p:nvSpPr>
          <p:cNvPr id="5" name="Pladsholder til diagram 4">
            <a:extLst>
              <a:ext uri="{FF2B5EF4-FFF2-40B4-BE49-F238E27FC236}">
                <a16:creationId xmlns:a16="http://schemas.microsoft.com/office/drawing/2014/main" id="{DA849CC6-76E9-40A0-8542-1158573A6EBC}"/>
              </a:ext>
            </a:extLst>
          </p:cNvPr>
          <p:cNvSpPr>
            <a:spLocks noGrp="1"/>
          </p:cNvSpPr>
          <p:nvPr>
            <p:ph type="chart" sz="quarter" idx="13"/>
          </p:nvPr>
        </p:nvSpPr>
        <p:spPr>
          <a:xfrm>
            <a:off x="6378052" y="723900"/>
            <a:ext cx="4975746" cy="5220125"/>
          </a:xfrm>
        </p:spPr>
        <p:txBody>
          <a:bodyPr/>
          <a:lstStyle/>
          <a:p>
            <a:endParaRPr lang="da-DK"/>
          </a:p>
        </p:txBody>
      </p:sp>
    </p:spTree>
    <p:extLst>
      <p:ext uri="{BB962C8B-B14F-4D97-AF65-F5344CB8AC3E}">
        <p14:creationId xmlns:p14="http://schemas.microsoft.com/office/powerpoint/2010/main" val="4397099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Two Conte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94634A4-F6B4-4766-AFFD-B5EB3CAC7314}"/>
              </a:ext>
            </a:extLst>
          </p:cNvPr>
          <p:cNvSpPr>
            <a:spLocks noGrp="1"/>
          </p:cNvSpPr>
          <p:nvPr>
            <p:ph type="title"/>
          </p:nvPr>
        </p:nvSpPr>
        <p:spPr>
          <a:xfrm>
            <a:off x="839788" y="723516"/>
            <a:ext cx="10515600" cy="913220"/>
          </a:xfrm>
        </p:spPr>
        <p:txBody>
          <a:bodyPr/>
          <a:lstStyle/>
          <a:p>
            <a:r>
              <a:rPr lang="da-DK"/>
              <a:t>Klik for at redigere titeltypografien i masteren</a:t>
            </a:r>
          </a:p>
        </p:txBody>
      </p:sp>
      <p:sp>
        <p:nvSpPr>
          <p:cNvPr id="3" name="Pladsholder til tekst 2">
            <a:extLst>
              <a:ext uri="{FF2B5EF4-FFF2-40B4-BE49-F238E27FC236}">
                <a16:creationId xmlns:a16="http://schemas.microsoft.com/office/drawing/2014/main" id="{04903F08-92EF-426A-A563-81AD5EA31980}"/>
              </a:ext>
            </a:extLst>
          </p:cNvPr>
          <p:cNvSpPr>
            <a:spLocks noGrp="1"/>
          </p:cNvSpPr>
          <p:nvPr>
            <p:ph type="body" idx="1"/>
          </p:nvPr>
        </p:nvSpPr>
        <p:spPr>
          <a:xfrm>
            <a:off x="839789" y="1713062"/>
            <a:ext cx="5091114" cy="823912"/>
          </a:xfrm>
        </p:spPr>
        <p:txBody>
          <a:bodyPr anchor="ctr">
            <a:normAutofit/>
          </a:bodyPr>
          <a:lstStyle>
            <a:lvl1pPr marL="0" indent="0">
              <a:buNone/>
              <a:defRPr sz="1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4" name="Pladsholder til indhold 3">
            <a:extLst>
              <a:ext uri="{FF2B5EF4-FFF2-40B4-BE49-F238E27FC236}">
                <a16:creationId xmlns:a16="http://schemas.microsoft.com/office/drawing/2014/main" id="{B32381B7-07E4-46D9-859B-99309A74FF63}"/>
              </a:ext>
            </a:extLst>
          </p:cNvPr>
          <p:cNvSpPr>
            <a:spLocks noGrp="1"/>
          </p:cNvSpPr>
          <p:nvPr>
            <p:ph sz="half" idx="2"/>
          </p:nvPr>
        </p:nvSpPr>
        <p:spPr>
          <a:xfrm>
            <a:off x="839789" y="2636873"/>
            <a:ext cx="5091114" cy="3552789"/>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p:txBody>
      </p:sp>
      <p:sp>
        <p:nvSpPr>
          <p:cNvPr id="5" name="Pladsholder til tekst 4">
            <a:extLst>
              <a:ext uri="{FF2B5EF4-FFF2-40B4-BE49-F238E27FC236}">
                <a16:creationId xmlns:a16="http://schemas.microsoft.com/office/drawing/2014/main" id="{65759587-794E-4DB1-A3CA-4B15C56878AB}"/>
              </a:ext>
            </a:extLst>
          </p:cNvPr>
          <p:cNvSpPr>
            <a:spLocks noGrp="1"/>
          </p:cNvSpPr>
          <p:nvPr>
            <p:ph type="body" sz="quarter" idx="3"/>
          </p:nvPr>
        </p:nvSpPr>
        <p:spPr>
          <a:xfrm>
            <a:off x="6280152" y="1713062"/>
            <a:ext cx="5075236" cy="823912"/>
          </a:xfrm>
        </p:spPr>
        <p:txBody>
          <a:bodyPr anchor="ctr">
            <a:normAutofit/>
          </a:bodyPr>
          <a:lstStyle>
            <a:lvl1pPr marL="0" indent="0">
              <a:buNone/>
              <a:defRPr sz="1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6" name="Pladsholder til indhold 5">
            <a:extLst>
              <a:ext uri="{FF2B5EF4-FFF2-40B4-BE49-F238E27FC236}">
                <a16:creationId xmlns:a16="http://schemas.microsoft.com/office/drawing/2014/main" id="{AF6426E7-F0B9-45F7-8C7F-BEE833AB3AF0}"/>
              </a:ext>
            </a:extLst>
          </p:cNvPr>
          <p:cNvSpPr>
            <a:spLocks noGrp="1"/>
          </p:cNvSpPr>
          <p:nvPr>
            <p:ph sz="quarter" idx="4"/>
          </p:nvPr>
        </p:nvSpPr>
        <p:spPr>
          <a:xfrm>
            <a:off x="6280152" y="2636873"/>
            <a:ext cx="5075236" cy="3552789"/>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p:txBody>
      </p:sp>
      <p:sp>
        <p:nvSpPr>
          <p:cNvPr id="8" name="Pladsholder til sidefod 7">
            <a:extLst>
              <a:ext uri="{FF2B5EF4-FFF2-40B4-BE49-F238E27FC236}">
                <a16:creationId xmlns:a16="http://schemas.microsoft.com/office/drawing/2014/main" id="{19901541-B4A9-48B6-8077-4ACA840CD9C3}"/>
              </a:ext>
            </a:extLst>
          </p:cNvPr>
          <p:cNvSpPr>
            <a:spLocks noGrp="1"/>
          </p:cNvSpPr>
          <p:nvPr>
            <p:ph type="ftr" sz="quarter" idx="11"/>
          </p:nvPr>
        </p:nvSpPr>
        <p:spPr/>
        <p:txBody>
          <a:bodyPr/>
          <a:lstStyle/>
          <a:p>
            <a:r>
              <a:rPr lang="da-DK"/>
              <a:t>RØDE KORS / Introduktionskursus for nye kasserere / 2025</a:t>
            </a:r>
          </a:p>
        </p:txBody>
      </p:sp>
      <p:pic>
        <p:nvPicPr>
          <p:cNvPr id="11" name="Picture 2" descr="D:\Transfer\RødeKors\PPT\logo\lille logo.wmf">
            <a:extLst>
              <a:ext uri="{FF2B5EF4-FFF2-40B4-BE49-F238E27FC236}">
                <a16:creationId xmlns:a16="http://schemas.microsoft.com/office/drawing/2014/main" id="{FB00FC05-F9F2-4888-BA82-4F2D68758D96}"/>
              </a:ext>
            </a:extLst>
          </p:cNvPr>
          <p:cNvPicPr>
            <a:picLocks noChangeAspect="1" noChangeArrowheads="1"/>
          </p:cNvPicPr>
          <p:nvPr userDrawn="1"/>
        </p:nvPicPr>
        <p:blipFill>
          <a:blip r:embed="rId2" cstate="screen"/>
          <a:srcRect/>
          <a:stretch>
            <a:fillRect/>
          </a:stretch>
        </p:blipFill>
        <p:spPr bwMode="auto">
          <a:xfrm>
            <a:off x="5930902" y="274934"/>
            <a:ext cx="349250" cy="349250"/>
          </a:xfrm>
          <a:prstGeom prst="rect">
            <a:avLst/>
          </a:prstGeom>
          <a:noFill/>
        </p:spPr>
      </p:pic>
    </p:spTree>
    <p:extLst>
      <p:ext uri="{BB962C8B-B14F-4D97-AF65-F5344CB8AC3E}">
        <p14:creationId xmlns:p14="http://schemas.microsoft.com/office/powerpoint/2010/main" val="134105990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bel, Graf ore Smarar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94634A4-F6B4-4766-AFFD-B5EB3CAC7314}"/>
              </a:ext>
            </a:extLst>
          </p:cNvPr>
          <p:cNvSpPr>
            <a:spLocks noGrp="1"/>
          </p:cNvSpPr>
          <p:nvPr>
            <p:ph type="title"/>
          </p:nvPr>
        </p:nvSpPr>
        <p:spPr>
          <a:xfrm>
            <a:off x="839788" y="723516"/>
            <a:ext cx="10515600" cy="913220"/>
          </a:xfrm>
        </p:spPr>
        <p:txBody>
          <a:bodyPr/>
          <a:lstStyle/>
          <a:p>
            <a:r>
              <a:rPr lang="da-DK"/>
              <a:t>Klik for at redigere titeltypografien i masteren</a:t>
            </a:r>
          </a:p>
        </p:txBody>
      </p:sp>
      <p:sp>
        <p:nvSpPr>
          <p:cNvPr id="3" name="Pladsholder til tekst 2">
            <a:extLst>
              <a:ext uri="{FF2B5EF4-FFF2-40B4-BE49-F238E27FC236}">
                <a16:creationId xmlns:a16="http://schemas.microsoft.com/office/drawing/2014/main" id="{04903F08-92EF-426A-A563-81AD5EA31980}"/>
              </a:ext>
            </a:extLst>
          </p:cNvPr>
          <p:cNvSpPr>
            <a:spLocks noGrp="1"/>
          </p:cNvSpPr>
          <p:nvPr>
            <p:ph type="body" idx="1"/>
          </p:nvPr>
        </p:nvSpPr>
        <p:spPr>
          <a:xfrm>
            <a:off x="839789" y="1713062"/>
            <a:ext cx="10514010" cy="823912"/>
          </a:xfrm>
        </p:spPr>
        <p:txBody>
          <a:bodyPr anchor="t">
            <a:normAutofit/>
          </a:bodyPr>
          <a:lstStyle>
            <a:lvl1pPr marL="0" indent="0" algn="ctr">
              <a:buNone/>
              <a:defRPr sz="1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4" name="Pladsholder til indhold 3">
            <a:extLst>
              <a:ext uri="{FF2B5EF4-FFF2-40B4-BE49-F238E27FC236}">
                <a16:creationId xmlns:a16="http://schemas.microsoft.com/office/drawing/2014/main" id="{B32381B7-07E4-46D9-859B-99309A74FF63}"/>
              </a:ext>
            </a:extLst>
          </p:cNvPr>
          <p:cNvSpPr>
            <a:spLocks noGrp="1"/>
          </p:cNvSpPr>
          <p:nvPr>
            <p:ph sz="half" idx="2"/>
          </p:nvPr>
        </p:nvSpPr>
        <p:spPr>
          <a:xfrm>
            <a:off x="839789" y="2636873"/>
            <a:ext cx="10514010" cy="3552789"/>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p:txBody>
      </p:sp>
      <p:sp>
        <p:nvSpPr>
          <p:cNvPr id="8" name="Pladsholder til sidefod 7">
            <a:extLst>
              <a:ext uri="{FF2B5EF4-FFF2-40B4-BE49-F238E27FC236}">
                <a16:creationId xmlns:a16="http://schemas.microsoft.com/office/drawing/2014/main" id="{19901541-B4A9-48B6-8077-4ACA840CD9C3}"/>
              </a:ext>
            </a:extLst>
          </p:cNvPr>
          <p:cNvSpPr>
            <a:spLocks noGrp="1"/>
          </p:cNvSpPr>
          <p:nvPr>
            <p:ph type="ftr" sz="quarter" idx="11"/>
          </p:nvPr>
        </p:nvSpPr>
        <p:spPr/>
        <p:txBody>
          <a:bodyPr/>
          <a:lstStyle/>
          <a:p>
            <a:r>
              <a:rPr lang="da-DK"/>
              <a:t>RØDE KORS / Introduktionskursus for nye kasserere / 2025</a:t>
            </a:r>
          </a:p>
        </p:txBody>
      </p:sp>
      <p:pic>
        <p:nvPicPr>
          <p:cNvPr id="11" name="Picture 2" descr="D:\Transfer\RødeKors\PPT\logo\lille logo.wmf">
            <a:extLst>
              <a:ext uri="{FF2B5EF4-FFF2-40B4-BE49-F238E27FC236}">
                <a16:creationId xmlns:a16="http://schemas.microsoft.com/office/drawing/2014/main" id="{FB00FC05-F9F2-4888-BA82-4F2D68758D96}"/>
              </a:ext>
            </a:extLst>
          </p:cNvPr>
          <p:cNvPicPr>
            <a:picLocks noChangeAspect="1" noChangeArrowheads="1"/>
          </p:cNvPicPr>
          <p:nvPr userDrawn="1"/>
        </p:nvPicPr>
        <p:blipFill>
          <a:blip r:embed="rId2" cstate="screen"/>
          <a:srcRect/>
          <a:stretch>
            <a:fillRect/>
          </a:stretch>
        </p:blipFill>
        <p:spPr bwMode="auto">
          <a:xfrm>
            <a:off x="5930902" y="274934"/>
            <a:ext cx="349250" cy="349250"/>
          </a:xfrm>
          <a:prstGeom prst="rect">
            <a:avLst/>
          </a:prstGeom>
          <a:noFill/>
        </p:spPr>
      </p:pic>
      <p:sp>
        <p:nvSpPr>
          <p:cNvPr id="7" name="TextBox 15">
            <a:extLst>
              <a:ext uri="{FF2B5EF4-FFF2-40B4-BE49-F238E27FC236}">
                <a16:creationId xmlns:a16="http://schemas.microsoft.com/office/drawing/2014/main" id="{BFFA72DC-4888-421C-B000-B6692A85DB80}"/>
              </a:ext>
            </a:extLst>
          </p:cNvPr>
          <p:cNvSpPr txBox="1"/>
          <p:nvPr userDrawn="1"/>
        </p:nvSpPr>
        <p:spPr>
          <a:xfrm>
            <a:off x="-2232846" y="2685441"/>
            <a:ext cx="2082241" cy="307777"/>
          </a:xfrm>
          <a:prstGeom prst="rect">
            <a:avLst/>
          </a:prstGeom>
          <a:noFill/>
        </p:spPr>
        <p:txBody>
          <a:bodyPr wrap="square" lIns="0" tIns="0" rIns="0" bIns="0" rtlCol="0">
            <a:spAutoFit/>
          </a:bodyPr>
          <a:lstStyle/>
          <a:p>
            <a:pPr algn="r"/>
            <a:r>
              <a:rPr lang="da-DK" sz="1000" b="1" kern="1200" baseline="0">
                <a:solidFill>
                  <a:schemeClr val="tx1"/>
                </a:solidFill>
                <a:latin typeface="+mn-lt"/>
                <a:ea typeface="+mn-ea"/>
                <a:cs typeface="+mn-cs"/>
              </a:rPr>
              <a:t>Indsæt Tabel, Graf</a:t>
            </a:r>
          </a:p>
          <a:p>
            <a:pPr algn="r"/>
            <a:r>
              <a:rPr lang="da-DK" sz="1000" b="1" kern="1200" baseline="0">
                <a:solidFill>
                  <a:schemeClr val="tx1"/>
                </a:solidFill>
                <a:latin typeface="+mn-lt"/>
                <a:ea typeface="+mn-ea"/>
                <a:cs typeface="+mn-cs"/>
              </a:rPr>
              <a:t> eller </a:t>
            </a:r>
            <a:r>
              <a:rPr lang="da-DK" sz="1000" b="1" kern="1200" baseline="0" err="1">
                <a:solidFill>
                  <a:schemeClr val="tx1"/>
                </a:solidFill>
                <a:latin typeface="+mn-lt"/>
                <a:ea typeface="+mn-ea"/>
                <a:cs typeface="+mn-cs"/>
              </a:rPr>
              <a:t>SmartArt</a:t>
            </a:r>
            <a:endParaRPr lang="da-DK" sz="1000" b="1" kern="1200" baseline="0">
              <a:solidFill>
                <a:schemeClr val="tx1"/>
              </a:solidFill>
              <a:latin typeface="+mn-lt"/>
              <a:ea typeface="+mn-ea"/>
              <a:cs typeface="+mn-cs"/>
            </a:endParaRPr>
          </a:p>
        </p:txBody>
      </p:sp>
    </p:spTree>
    <p:extLst>
      <p:ext uri="{BB962C8B-B14F-4D97-AF65-F5344CB8AC3E}">
        <p14:creationId xmlns:p14="http://schemas.microsoft.com/office/powerpoint/2010/main" val="11271745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Image, Red Header and Text">
    <p:spTree>
      <p:nvGrpSpPr>
        <p:cNvPr id="1" name=""/>
        <p:cNvGrpSpPr/>
        <p:nvPr/>
      </p:nvGrpSpPr>
      <p:grpSpPr>
        <a:xfrm>
          <a:off x="0" y="0"/>
          <a:ext cx="0" cy="0"/>
          <a:chOff x="0" y="0"/>
          <a:chExt cx="0" cy="0"/>
        </a:xfrm>
      </p:grpSpPr>
      <p:sp>
        <p:nvSpPr>
          <p:cNvPr id="8" name="Pladsholder til billede 5">
            <a:extLst>
              <a:ext uri="{FF2B5EF4-FFF2-40B4-BE49-F238E27FC236}">
                <a16:creationId xmlns:a16="http://schemas.microsoft.com/office/drawing/2014/main" id="{B5C91276-46F3-4714-9729-BAD42F6D3A4B}"/>
              </a:ext>
            </a:extLst>
          </p:cNvPr>
          <p:cNvSpPr>
            <a:spLocks noGrp="1"/>
          </p:cNvSpPr>
          <p:nvPr>
            <p:ph type="pic" sz="quarter" idx="13"/>
          </p:nvPr>
        </p:nvSpPr>
        <p:spPr>
          <a:xfrm>
            <a:off x="-2" y="0"/>
            <a:ext cx="12192000" cy="6138000"/>
          </a:xfrm>
          <a:blipFill>
            <a:blip r:embed="rId2"/>
            <a:stretch>
              <a:fillRect/>
            </a:stretch>
          </a:blipFill>
        </p:spPr>
        <p:txBody>
          <a:bodyPr/>
          <a:lstStyle/>
          <a:p>
            <a:endParaRPr lang="da-DK"/>
          </a:p>
        </p:txBody>
      </p:sp>
      <p:sp>
        <p:nvSpPr>
          <p:cNvPr id="4" name="Pladsholder til sidefod 3">
            <a:extLst>
              <a:ext uri="{FF2B5EF4-FFF2-40B4-BE49-F238E27FC236}">
                <a16:creationId xmlns:a16="http://schemas.microsoft.com/office/drawing/2014/main" id="{FB7D23A1-6267-4A72-A300-027721C70596}"/>
              </a:ext>
            </a:extLst>
          </p:cNvPr>
          <p:cNvSpPr>
            <a:spLocks noGrp="1"/>
          </p:cNvSpPr>
          <p:nvPr>
            <p:ph type="ftr" sz="quarter" idx="11"/>
          </p:nvPr>
        </p:nvSpPr>
        <p:spPr/>
        <p:txBody>
          <a:bodyPr/>
          <a:lstStyle/>
          <a:p>
            <a:r>
              <a:rPr lang="da-DK"/>
              <a:t>RØDE KORS / Introduktionskursus for nye kasserere / 2025</a:t>
            </a:r>
          </a:p>
        </p:txBody>
      </p:sp>
      <p:sp>
        <p:nvSpPr>
          <p:cNvPr id="10" name="TextBox 13">
            <a:extLst>
              <a:ext uri="{FF2B5EF4-FFF2-40B4-BE49-F238E27FC236}">
                <a16:creationId xmlns:a16="http://schemas.microsoft.com/office/drawing/2014/main" id="{77F4A193-C8F3-4C58-8E23-C8237B13B325}"/>
              </a:ext>
            </a:extLst>
          </p:cNvPr>
          <p:cNvSpPr txBox="1"/>
          <p:nvPr userDrawn="1"/>
        </p:nvSpPr>
        <p:spPr>
          <a:xfrm>
            <a:off x="-2130735" y="1664804"/>
            <a:ext cx="2016224" cy="769441"/>
          </a:xfrm>
          <a:prstGeom prst="rect">
            <a:avLst/>
          </a:prstGeom>
          <a:noFill/>
        </p:spPr>
        <p:txBody>
          <a:bodyPr wrap="square" lIns="0" tIns="0" rIns="0" bIns="0" rtlCol="0">
            <a:spAutoFit/>
          </a:bodyPr>
          <a:lstStyle/>
          <a:p>
            <a:pPr algn="r"/>
            <a:r>
              <a:rPr lang="da-DK" sz="1000" b="1" kern="1200" baseline="0">
                <a:solidFill>
                  <a:schemeClr val="tx1"/>
                </a:solidFill>
                <a:latin typeface="+mn-lt"/>
                <a:ea typeface="+mn-ea"/>
                <a:cs typeface="+mn-cs"/>
              </a:rPr>
              <a:t>Indsæt billede</a:t>
            </a:r>
            <a:endParaRPr lang="da-DK" sz="1000" kern="1200" baseline="0">
              <a:solidFill>
                <a:schemeClr val="tx1"/>
              </a:solidFill>
              <a:latin typeface="+mn-lt"/>
              <a:ea typeface="+mn-ea"/>
              <a:cs typeface="+mn-cs"/>
            </a:endParaRPr>
          </a:p>
          <a:p>
            <a:pPr algn="r"/>
            <a:r>
              <a:rPr lang="da-DK" sz="1000" kern="1200" baseline="0">
                <a:solidFill>
                  <a:schemeClr val="tx1"/>
                </a:solidFill>
                <a:latin typeface="+mn-lt"/>
                <a:ea typeface="+mn-ea"/>
                <a:cs typeface="+mn-cs"/>
              </a:rPr>
              <a:t>1. Klik på billede ikonet </a:t>
            </a:r>
          </a:p>
          <a:p>
            <a:pPr algn="r"/>
            <a:r>
              <a:rPr lang="da-DK" sz="1000" kern="1200" baseline="0">
                <a:solidFill>
                  <a:schemeClr val="tx1"/>
                </a:solidFill>
                <a:latin typeface="+mn-lt"/>
                <a:ea typeface="+mn-ea"/>
                <a:cs typeface="+mn-cs"/>
              </a:rPr>
              <a:t>og vælg dit billede</a:t>
            </a:r>
          </a:p>
          <a:p>
            <a:pPr algn="r"/>
            <a:r>
              <a:rPr lang="da-DK" sz="1000" kern="1200" baseline="0">
                <a:solidFill>
                  <a:schemeClr val="tx1"/>
                </a:solidFill>
                <a:latin typeface="+mn-lt"/>
                <a:ea typeface="+mn-ea"/>
                <a:cs typeface="+mn-cs"/>
              </a:rPr>
              <a:t>2. Højre klik på billede </a:t>
            </a:r>
            <a:br>
              <a:rPr lang="da-DK" sz="1000" kern="1200" baseline="0">
                <a:solidFill>
                  <a:schemeClr val="tx1"/>
                </a:solidFill>
                <a:latin typeface="+mn-lt"/>
                <a:ea typeface="+mn-ea"/>
                <a:cs typeface="+mn-cs"/>
              </a:rPr>
            </a:br>
            <a:r>
              <a:rPr lang="da-DK" sz="1000" kern="1200" baseline="0">
                <a:solidFill>
                  <a:schemeClr val="tx1"/>
                </a:solidFill>
                <a:latin typeface="+mn-lt"/>
                <a:ea typeface="+mn-ea"/>
                <a:cs typeface="+mn-cs"/>
              </a:rPr>
              <a:t>og vælg ’Placér bagerst’</a:t>
            </a:r>
          </a:p>
        </p:txBody>
      </p:sp>
      <p:sp>
        <p:nvSpPr>
          <p:cNvPr id="11" name="Text Placeholder 9">
            <a:extLst>
              <a:ext uri="{FF2B5EF4-FFF2-40B4-BE49-F238E27FC236}">
                <a16:creationId xmlns:a16="http://schemas.microsoft.com/office/drawing/2014/main" id="{8CC1A634-51ED-467C-BF49-3E74CA5C1731}"/>
              </a:ext>
            </a:extLst>
          </p:cNvPr>
          <p:cNvSpPr>
            <a:spLocks noGrp="1"/>
          </p:cNvSpPr>
          <p:nvPr>
            <p:ph type="body" sz="quarter" idx="14"/>
          </p:nvPr>
        </p:nvSpPr>
        <p:spPr>
          <a:xfrm>
            <a:off x="719139" y="3611120"/>
            <a:ext cx="4752962" cy="1978823"/>
          </a:xfrm>
        </p:spPr>
        <p:txBody>
          <a:bodyPr anchor="b" anchorCtr="0">
            <a:normAutofit/>
          </a:bodyPr>
          <a:lstStyle>
            <a:lvl1pPr marL="0" indent="0">
              <a:buNone/>
              <a:defRPr b="0"/>
            </a:lvl1pPr>
          </a:lstStyle>
          <a:p>
            <a:pPr lvl="0"/>
            <a:r>
              <a:rPr lang="da-DK"/>
              <a:t>Klik for at redigere teksttypografierne</a:t>
            </a:r>
            <a:endParaRPr lang="en-US" noProof="0"/>
          </a:p>
        </p:txBody>
      </p:sp>
      <p:sp>
        <p:nvSpPr>
          <p:cNvPr id="12" name="Titel 1">
            <a:extLst>
              <a:ext uri="{FF2B5EF4-FFF2-40B4-BE49-F238E27FC236}">
                <a16:creationId xmlns:a16="http://schemas.microsoft.com/office/drawing/2014/main" id="{EBAE3CD9-F39C-4FFA-B9F8-715B3FA93F4F}"/>
              </a:ext>
            </a:extLst>
          </p:cNvPr>
          <p:cNvSpPr>
            <a:spLocks noGrp="1"/>
          </p:cNvSpPr>
          <p:nvPr>
            <p:ph type="ctrTitle" hasCustomPrompt="1"/>
          </p:nvPr>
        </p:nvSpPr>
        <p:spPr>
          <a:xfrm>
            <a:off x="707107" y="1441846"/>
            <a:ext cx="10653711" cy="2169275"/>
          </a:xfrm>
        </p:spPr>
        <p:txBody>
          <a:bodyPr anchor="b">
            <a:normAutofit/>
          </a:bodyPr>
          <a:lstStyle>
            <a:lvl1pPr algn="ctr">
              <a:defRPr sz="7000" cap="all" baseline="0">
                <a:solidFill>
                  <a:schemeClr val="tx2"/>
                </a:solidFill>
              </a:defRPr>
            </a:lvl1pPr>
          </a:lstStyle>
          <a:p>
            <a:r>
              <a:rPr lang="da-DK"/>
              <a:t>redigere titeltypografien</a:t>
            </a:r>
          </a:p>
        </p:txBody>
      </p:sp>
      <p:sp>
        <p:nvSpPr>
          <p:cNvPr id="14" name="Text Placeholder 6">
            <a:extLst>
              <a:ext uri="{FF2B5EF4-FFF2-40B4-BE49-F238E27FC236}">
                <a16:creationId xmlns:a16="http://schemas.microsoft.com/office/drawing/2014/main" id="{7DD6AB2F-82D3-4724-9BA3-1A4F94E8A2F8}"/>
              </a:ext>
            </a:extLst>
          </p:cNvPr>
          <p:cNvSpPr>
            <a:spLocks noGrp="1"/>
          </p:cNvSpPr>
          <p:nvPr>
            <p:ph type="body" sz="quarter" idx="16"/>
          </p:nvPr>
        </p:nvSpPr>
        <p:spPr>
          <a:xfrm>
            <a:off x="5922000" y="269790"/>
            <a:ext cx="349200" cy="349200"/>
          </a:xfrm>
          <a:blipFill>
            <a:blip r:embed="rId3"/>
            <a:stretch>
              <a:fillRect/>
            </a:stretch>
          </a:blipFill>
        </p:spPr>
        <p:txBody>
          <a:bodyPr anchor="ctr" anchorCtr="0">
            <a:normAutofit/>
          </a:bodyPr>
          <a:lstStyle>
            <a:lvl1pPr algn="ctr">
              <a:defRPr sz="100" b="0">
                <a:solidFill>
                  <a:srgbClr val="E30A0B"/>
                </a:solidFill>
              </a:defRPr>
            </a:lvl1pPr>
          </a:lstStyle>
          <a:p>
            <a:pPr lvl="0"/>
            <a:r>
              <a:rPr lang="en-US"/>
              <a:t>Edit Master text styles</a:t>
            </a:r>
          </a:p>
        </p:txBody>
      </p:sp>
    </p:spTree>
    <p:extLst>
      <p:ext uri="{BB962C8B-B14F-4D97-AF65-F5344CB8AC3E}">
        <p14:creationId xmlns:p14="http://schemas.microsoft.com/office/powerpoint/2010/main" val="738361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Rosa background and Text">
    <p:spTree>
      <p:nvGrpSpPr>
        <p:cNvPr id="1" name=""/>
        <p:cNvGrpSpPr/>
        <p:nvPr/>
      </p:nvGrpSpPr>
      <p:grpSpPr>
        <a:xfrm>
          <a:off x="0" y="0"/>
          <a:ext cx="0" cy="0"/>
          <a:chOff x="0" y="0"/>
          <a:chExt cx="0" cy="0"/>
        </a:xfrm>
      </p:grpSpPr>
      <p:sp>
        <p:nvSpPr>
          <p:cNvPr id="2" name="Rectangle 5">
            <a:extLst>
              <a:ext uri="{FF2B5EF4-FFF2-40B4-BE49-F238E27FC236}">
                <a16:creationId xmlns:a16="http://schemas.microsoft.com/office/drawing/2014/main" id="{BF10F232-FB8F-4C03-AC75-1B1028C29B6A}"/>
              </a:ext>
            </a:extLst>
          </p:cNvPr>
          <p:cNvSpPr/>
          <p:nvPr userDrawn="1"/>
        </p:nvSpPr>
        <p:spPr>
          <a:xfrm>
            <a:off x="-3600" y="-3599"/>
            <a:ext cx="12195600" cy="6298074"/>
          </a:xfrm>
          <a:prstGeom prst="rect">
            <a:avLst/>
          </a:prstGeom>
          <a:solidFill>
            <a:srgbClr val="FAE3E9"/>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a:p>
        </p:txBody>
      </p:sp>
      <p:sp>
        <p:nvSpPr>
          <p:cNvPr id="4" name="Pladsholder til sidefod 3">
            <a:extLst>
              <a:ext uri="{FF2B5EF4-FFF2-40B4-BE49-F238E27FC236}">
                <a16:creationId xmlns:a16="http://schemas.microsoft.com/office/drawing/2014/main" id="{FB7D23A1-6267-4A72-A300-027721C70596}"/>
              </a:ext>
            </a:extLst>
          </p:cNvPr>
          <p:cNvSpPr>
            <a:spLocks noGrp="1"/>
          </p:cNvSpPr>
          <p:nvPr>
            <p:ph type="ftr" sz="quarter" idx="11"/>
          </p:nvPr>
        </p:nvSpPr>
        <p:spPr/>
        <p:txBody>
          <a:bodyPr/>
          <a:lstStyle/>
          <a:p>
            <a:r>
              <a:rPr lang="da-DK"/>
              <a:t>RØDE KORS / Introduktionskursus for nye kasserere / 2025</a:t>
            </a:r>
          </a:p>
        </p:txBody>
      </p:sp>
      <p:sp>
        <p:nvSpPr>
          <p:cNvPr id="10" name="TextBox 13">
            <a:extLst>
              <a:ext uri="{FF2B5EF4-FFF2-40B4-BE49-F238E27FC236}">
                <a16:creationId xmlns:a16="http://schemas.microsoft.com/office/drawing/2014/main" id="{77F4A193-C8F3-4C58-8E23-C8237B13B325}"/>
              </a:ext>
            </a:extLst>
          </p:cNvPr>
          <p:cNvSpPr txBox="1"/>
          <p:nvPr userDrawn="1"/>
        </p:nvSpPr>
        <p:spPr>
          <a:xfrm>
            <a:off x="-2130735" y="1664804"/>
            <a:ext cx="2016224" cy="769441"/>
          </a:xfrm>
          <a:prstGeom prst="rect">
            <a:avLst/>
          </a:prstGeom>
          <a:noFill/>
        </p:spPr>
        <p:txBody>
          <a:bodyPr wrap="square" lIns="0" tIns="0" rIns="0" bIns="0" rtlCol="0">
            <a:spAutoFit/>
          </a:bodyPr>
          <a:lstStyle/>
          <a:p>
            <a:pPr algn="r"/>
            <a:r>
              <a:rPr lang="da-DK" sz="1000" b="1" kern="1200" baseline="0">
                <a:solidFill>
                  <a:schemeClr val="tx1"/>
                </a:solidFill>
                <a:latin typeface="+mn-lt"/>
                <a:ea typeface="+mn-ea"/>
                <a:cs typeface="+mn-cs"/>
              </a:rPr>
              <a:t>Indsæt billede</a:t>
            </a:r>
            <a:endParaRPr lang="da-DK" sz="1000" kern="1200" baseline="0">
              <a:solidFill>
                <a:schemeClr val="tx1"/>
              </a:solidFill>
              <a:latin typeface="+mn-lt"/>
              <a:ea typeface="+mn-ea"/>
              <a:cs typeface="+mn-cs"/>
            </a:endParaRPr>
          </a:p>
          <a:p>
            <a:pPr algn="r"/>
            <a:r>
              <a:rPr lang="da-DK" sz="1000" kern="1200" baseline="0">
                <a:solidFill>
                  <a:schemeClr val="tx1"/>
                </a:solidFill>
                <a:latin typeface="+mn-lt"/>
                <a:ea typeface="+mn-ea"/>
                <a:cs typeface="+mn-cs"/>
              </a:rPr>
              <a:t>1. Klik på billede ikonet </a:t>
            </a:r>
          </a:p>
          <a:p>
            <a:pPr algn="r"/>
            <a:r>
              <a:rPr lang="da-DK" sz="1000" kern="1200" baseline="0">
                <a:solidFill>
                  <a:schemeClr val="tx1"/>
                </a:solidFill>
                <a:latin typeface="+mn-lt"/>
                <a:ea typeface="+mn-ea"/>
                <a:cs typeface="+mn-cs"/>
              </a:rPr>
              <a:t>og vælg dit billede</a:t>
            </a:r>
          </a:p>
          <a:p>
            <a:pPr algn="r"/>
            <a:r>
              <a:rPr lang="da-DK" sz="1000" kern="1200" baseline="0">
                <a:solidFill>
                  <a:schemeClr val="tx1"/>
                </a:solidFill>
                <a:latin typeface="+mn-lt"/>
                <a:ea typeface="+mn-ea"/>
                <a:cs typeface="+mn-cs"/>
              </a:rPr>
              <a:t>2. Højre klik på billede </a:t>
            </a:r>
            <a:br>
              <a:rPr lang="da-DK" sz="1000" kern="1200" baseline="0">
                <a:solidFill>
                  <a:schemeClr val="tx1"/>
                </a:solidFill>
                <a:latin typeface="+mn-lt"/>
                <a:ea typeface="+mn-ea"/>
                <a:cs typeface="+mn-cs"/>
              </a:rPr>
            </a:br>
            <a:r>
              <a:rPr lang="da-DK" sz="1000" kern="1200" baseline="0">
                <a:solidFill>
                  <a:schemeClr val="tx1"/>
                </a:solidFill>
                <a:latin typeface="+mn-lt"/>
                <a:ea typeface="+mn-ea"/>
                <a:cs typeface="+mn-cs"/>
              </a:rPr>
              <a:t>og vælg ’Placér bagerst’</a:t>
            </a:r>
          </a:p>
        </p:txBody>
      </p:sp>
      <p:sp>
        <p:nvSpPr>
          <p:cNvPr id="11" name="Text Placeholder 9">
            <a:extLst>
              <a:ext uri="{FF2B5EF4-FFF2-40B4-BE49-F238E27FC236}">
                <a16:creationId xmlns:a16="http://schemas.microsoft.com/office/drawing/2014/main" id="{8CC1A634-51ED-467C-BF49-3E74CA5C1731}"/>
              </a:ext>
            </a:extLst>
          </p:cNvPr>
          <p:cNvSpPr>
            <a:spLocks noGrp="1"/>
          </p:cNvSpPr>
          <p:nvPr>
            <p:ph type="body" sz="quarter" idx="14"/>
          </p:nvPr>
        </p:nvSpPr>
        <p:spPr>
          <a:xfrm>
            <a:off x="719139" y="3611120"/>
            <a:ext cx="4752962" cy="1978823"/>
          </a:xfrm>
        </p:spPr>
        <p:txBody>
          <a:bodyPr anchor="b" anchorCtr="0">
            <a:normAutofit/>
          </a:bodyPr>
          <a:lstStyle>
            <a:lvl1pPr marL="0" indent="0">
              <a:buNone/>
              <a:defRPr b="0"/>
            </a:lvl1pPr>
          </a:lstStyle>
          <a:p>
            <a:pPr lvl="0"/>
            <a:r>
              <a:rPr lang="da-DK"/>
              <a:t>Klik for at redigere teksttypografierne</a:t>
            </a:r>
            <a:endParaRPr lang="en-US" noProof="0"/>
          </a:p>
        </p:txBody>
      </p:sp>
      <p:sp>
        <p:nvSpPr>
          <p:cNvPr id="12" name="Titel 1">
            <a:extLst>
              <a:ext uri="{FF2B5EF4-FFF2-40B4-BE49-F238E27FC236}">
                <a16:creationId xmlns:a16="http://schemas.microsoft.com/office/drawing/2014/main" id="{EBAE3CD9-F39C-4FFA-B9F8-715B3FA93F4F}"/>
              </a:ext>
            </a:extLst>
          </p:cNvPr>
          <p:cNvSpPr>
            <a:spLocks noGrp="1"/>
          </p:cNvSpPr>
          <p:nvPr>
            <p:ph type="ctrTitle" hasCustomPrompt="1"/>
          </p:nvPr>
        </p:nvSpPr>
        <p:spPr>
          <a:xfrm>
            <a:off x="707107" y="1441846"/>
            <a:ext cx="10653711" cy="2169275"/>
          </a:xfrm>
        </p:spPr>
        <p:txBody>
          <a:bodyPr anchor="b">
            <a:normAutofit/>
          </a:bodyPr>
          <a:lstStyle>
            <a:lvl1pPr algn="ctr">
              <a:defRPr sz="7000" cap="all" baseline="0">
                <a:solidFill>
                  <a:schemeClr val="tx2"/>
                </a:solidFill>
              </a:defRPr>
            </a:lvl1pPr>
          </a:lstStyle>
          <a:p>
            <a:r>
              <a:rPr lang="da-DK"/>
              <a:t>redigere titeltypografien</a:t>
            </a:r>
          </a:p>
        </p:txBody>
      </p:sp>
      <p:pic>
        <p:nvPicPr>
          <p:cNvPr id="7" name="Picture 2" descr="D:\Transfer\RødeKors\PPT\logo\lille logo.wmf">
            <a:extLst>
              <a:ext uri="{FF2B5EF4-FFF2-40B4-BE49-F238E27FC236}">
                <a16:creationId xmlns:a16="http://schemas.microsoft.com/office/drawing/2014/main" id="{4746A85C-E327-4DF8-98C6-DC937BE6B098}"/>
              </a:ext>
            </a:extLst>
          </p:cNvPr>
          <p:cNvPicPr>
            <a:picLocks noChangeAspect="1" noChangeArrowheads="1"/>
          </p:cNvPicPr>
          <p:nvPr userDrawn="1"/>
        </p:nvPicPr>
        <p:blipFill>
          <a:blip r:embed="rId2" cstate="screen"/>
          <a:srcRect/>
          <a:stretch>
            <a:fillRect/>
          </a:stretch>
        </p:blipFill>
        <p:spPr bwMode="auto">
          <a:xfrm>
            <a:off x="5930902" y="274934"/>
            <a:ext cx="349250" cy="349250"/>
          </a:xfrm>
          <a:prstGeom prst="rect">
            <a:avLst/>
          </a:prstGeom>
          <a:noFill/>
        </p:spPr>
      </p:pic>
    </p:spTree>
    <p:extLst>
      <p:ext uri="{BB962C8B-B14F-4D97-AF65-F5344CB8AC3E}">
        <p14:creationId xmlns:p14="http://schemas.microsoft.com/office/powerpoint/2010/main" val="70887302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arge Image, White Smal Header and Text">
    <p:spTree>
      <p:nvGrpSpPr>
        <p:cNvPr id="1" name=""/>
        <p:cNvGrpSpPr/>
        <p:nvPr/>
      </p:nvGrpSpPr>
      <p:grpSpPr>
        <a:xfrm>
          <a:off x="0" y="0"/>
          <a:ext cx="0" cy="0"/>
          <a:chOff x="0" y="0"/>
          <a:chExt cx="0" cy="0"/>
        </a:xfrm>
      </p:grpSpPr>
      <p:sp>
        <p:nvSpPr>
          <p:cNvPr id="8" name="Pladsholder til billede 5">
            <a:extLst>
              <a:ext uri="{FF2B5EF4-FFF2-40B4-BE49-F238E27FC236}">
                <a16:creationId xmlns:a16="http://schemas.microsoft.com/office/drawing/2014/main" id="{B5C91276-46F3-4714-9729-BAD42F6D3A4B}"/>
              </a:ext>
            </a:extLst>
          </p:cNvPr>
          <p:cNvSpPr>
            <a:spLocks noGrp="1"/>
          </p:cNvSpPr>
          <p:nvPr>
            <p:ph type="pic" sz="quarter" idx="13"/>
          </p:nvPr>
        </p:nvSpPr>
        <p:spPr>
          <a:xfrm>
            <a:off x="-3" y="2"/>
            <a:ext cx="12192000" cy="6137999"/>
          </a:xfrm>
          <a:blipFill>
            <a:blip r:embed="rId2"/>
            <a:stretch>
              <a:fillRect/>
            </a:stretch>
          </a:blipFill>
        </p:spPr>
        <p:txBody>
          <a:bodyPr/>
          <a:lstStyle/>
          <a:p>
            <a:endParaRPr lang="da-DK"/>
          </a:p>
        </p:txBody>
      </p:sp>
      <p:sp>
        <p:nvSpPr>
          <p:cNvPr id="4" name="Pladsholder til sidefod 3">
            <a:extLst>
              <a:ext uri="{FF2B5EF4-FFF2-40B4-BE49-F238E27FC236}">
                <a16:creationId xmlns:a16="http://schemas.microsoft.com/office/drawing/2014/main" id="{FB7D23A1-6267-4A72-A300-027721C70596}"/>
              </a:ext>
            </a:extLst>
          </p:cNvPr>
          <p:cNvSpPr>
            <a:spLocks noGrp="1"/>
          </p:cNvSpPr>
          <p:nvPr>
            <p:ph type="ftr" sz="quarter" idx="11"/>
          </p:nvPr>
        </p:nvSpPr>
        <p:spPr/>
        <p:txBody>
          <a:bodyPr/>
          <a:lstStyle/>
          <a:p>
            <a:r>
              <a:rPr lang="da-DK"/>
              <a:t>RØDE KORS / Introduktionskursus for nye kasserere / 2025</a:t>
            </a:r>
          </a:p>
        </p:txBody>
      </p:sp>
      <p:sp>
        <p:nvSpPr>
          <p:cNvPr id="9" name="Title 1">
            <a:extLst>
              <a:ext uri="{FF2B5EF4-FFF2-40B4-BE49-F238E27FC236}">
                <a16:creationId xmlns:a16="http://schemas.microsoft.com/office/drawing/2014/main" id="{6D285655-7B15-465C-BD12-B5C41E445949}"/>
              </a:ext>
            </a:extLst>
          </p:cNvPr>
          <p:cNvSpPr>
            <a:spLocks noGrp="1"/>
          </p:cNvSpPr>
          <p:nvPr>
            <p:ph type="title" hasCustomPrompt="1"/>
          </p:nvPr>
        </p:nvSpPr>
        <p:spPr>
          <a:xfrm>
            <a:off x="719139" y="2475426"/>
            <a:ext cx="10653712" cy="1128498"/>
          </a:xfrm>
        </p:spPr>
        <p:txBody>
          <a:bodyPr anchor="t" anchorCtr="0">
            <a:noAutofit/>
          </a:bodyPr>
          <a:lstStyle>
            <a:lvl1pPr>
              <a:lnSpc>
                <a:spcPct val="80000"/>
              </a:lnSpc>
              <a:defRPr sz="4000" cap="all" baseline="0">
                <a:solidFill>
                  <a:schemeClr val="bg1"/>
                </a:solidFill>
              </a:defRPr>
            </a:lvl1pPr>
          </a:lstStyle>
          <a:p>
            <a:r>
              <a:rPr lang="da-DK"/>
              <a:t>Klik for at redigere teksttypografierne</a:t>
            </a:r>
            <a:endParaRPr lang="da-DK" noProof="0"/>
          </a:p>
        </p:txBody>
      </p:sp>
      <p:sp>
        <p:nvSpPr>
          <p:cNvPr id="12" name="Text Placeholder 12">
            <a:extLst>
              <a:ext uri="{FF2B5EF4-FFF2-40B4-BE49-F238E27FC236}">
                <a16:creationId xmlns:a16="http://schemas.microsoft.com/office/drawing/2014/main" id="{7BE11E05-EB07-47A1-A1CC-94CCBAB10153}"/>
              </a:ext>
            </a:extLst>
          </p:cNvPr>
          <p:cNvSpPr>
            <a:spLocks noGrp="1"/>
          </p:cNvSpPr>
          <p:nvPr>
            <p:ph type="body" sz="quarter" idx="14"/>
          </p:nvPr>
        </p:nvSpPr>
        <p:spPr>
          <a:xfrm>
            <a:off x="719140" y="3610800"/>
            <a:ext cx="4932363" cy="1995110"/>
          </a:xfrm>
        </p:spPr>
        <p:txBody>
          <a:bodyPr anchor="b" anchorCtr="0">
            <a:normAutofit/>
          </a:bodyPr>
          <a:lstStyle>
            <a:lvl1pPr marL="0" indent="0">
              <a:buNone/>
              <a:defRPr b="1">
                <a:solidFill>
                  <a:schemeClr val="bg1"/>
                </a:solidFill>
              </a:defRPr>
            </a:lvl1pPr>
            <a:lvl2pPr marL="0" indent="0">
              <a:buFont typeface="Arial" panose="020B0604020202020204" pitchFamily="34" charset="0"/>
              <a:buNone/>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Klik for at redigere teksttypografierne</a:t>
            </a:r>
            <a:endParaRPr lang="en-US" noProof="0"/>
          </a:p>
        </p:txBody>
      </p:sp>
      <p:sp>
        <p:nvSpPr>
          <p:cNvPr id="2" name="TextBox 15">
            <a:extLst>
              <a:ext uri="{FF2B5EF4-FFF2-40B4-BE49-F238E27FC236}">
                <a16:creationId xmlns:a16="http://schemas.microsoft.com/office/drawing/2014/main" id="{137EC53C-4A67-4445-9BAE-E4EE11961172}"/>
              </a:ext>
            </a:extLst>
          </p:cNvPr>
          <p:cNvSpPr txBox="1"/>
          <p:nvPr userDrawn="1"/>
        </p:nvSpPr>
        <p:spPr>
          <a:xfrm>
            <a:off x="-2130735" y="1664804"/>
            <a:ext cx="2016224" cy="4308872"/>
          </a:xfrm>
          <a:prstGeom prst="rect">
            <a:avLst/>
          </a:prstGeom>
          <a:noFill/>
        </p:spPr>
        <p:txBody>
          <a:bodyPr wrap="square" lIns="0" tIns="0" rIns="0" bIns="0" rtlCol="0">
            <a:spAutoFit/>
          </a:bodyPr>
          <a:lstStyle/>
          <a:p>
            <a:pPr algn="r"/>
            <a:r>
              <a:rPr lang="da-DK" sz="1000" b="1" kern="1200" baseline="0">
                <a:solidFill>
                  <a:schemeClr val="tx1"/>
                </a:solidFill>
                <a:latin typeface="+mn-lt"/>
                <a:ea typeface="+mn-ea"/>
                <a:cs typeface="+mn-cs"/>
              </a:rPr>
              <a:t>Indsæt billede</a:t>
            </a:r>
            <a:endParaRPr lang="da-DK" sz="1000" kern="1200" baseline="0">
              <a:solidFill>
                <a:schemeClr val="tx1"/>
              </a:solidFill>
              <a:latin typeface="+mn-lt"/>
              <a:ea typeface="+mn-ea"/>
              <a:cs typeface="+mn-cs"/>
            </a:endParaRPr>
          </a:p>
          <a:p>
            <a:pPr algn="r"/>
            <a:r>
              <a:rPr lang="da-DK" sz="1000" kern="1200" baseline="0">
                <a:solidFill>
                  <a:schemeClr val="tx1"/>
                </a:solidFill>
                <a:latin typeface="+mn-lt"/>
                <a:ea typeface="+mn-ea"/>
                <a:cs typeface="+mn-cs"/>
              </a:rPr>
              <a:t>1. Klik på billede ikonet </a:t>
            </a:r>
          </a:p>
          <a:p>
            <a:pPr algn="r"/>
            <a:r>
              <a:rPr lang="da-DK" sz="1000" kern="1200" baseline="0">
                <a:solidFill>
                  <a:schemeClr val="tx1"/>
                </a:solidFill>
                <a:latin typeface="+mn-lt"/>
                <a:ea typeface="+mn-ea"/>
                <a:cs typeface="+mn-cs"/>
              </a:rPr>
              <a:t>og vælg dit billede</a:t>
            </a:r>
          </a:p>
          <a:p>
            <a:pPr algn="r"/>
            <a:r>
              <a:rPr lang="da-DK" sz="1000" kern="1200" baseline="0">
                <a:solidFill>
                  <a:schemeClr val="tx1"/>
                </a:solidFill>
                <a:latin typeface="+mn-lt"/>
                <a:ea typeface="+mn-ea"/>
                <a:cs typeface="+mn-cs"/>
              </a:rPr>
              <a:t>2. Højre klik på billede </a:t>
            </a:r>
            <a:br>
              <a:rPr lang="da-DK" sz="1000" kern="1200" baseline="0">
                <a:solidFill>
                  <a:schemeClr val="tx1"/>
                </a:solidFill>
                <a:latin typeface="+mn-lt"/>
                <a:ea typeface="+mn-ea"/>
                <a:cs typeface="+mn-cs"/>
              </a:rPr>
            </a:br>
            <a:r>
              <a:rPr lang="da-DK" sz="1000" kern="1200" baseline="0">
                <a:solidFill>
                  <a:schemeClr val="tx1"/>
                </a:solidFill>
                <a:latin typeface="+mn-lt"/>
                <a:ea typeface="+mn-ea"/>
                <a:cs typeface="+mn-cs"/>
              </a:rPr>
              <a:t>og vælg ’Placér bagerst’</a:t>
            </a:r>
          </a:p>
          <a:p>
            <a:pPr algn="r"/>
            <a:endParaRPr lang="da-DK" sz="1000" kern="1200" baseline="0">
              <a:solidFill>
                <a:schemeClr val="tx1"/>
              </a:solidFill>
              <a:latin typeface="+mn-lt"/>
              <a:ea typeface="+mn-ea"/>
              <a:cs typeface="+mn-cs"/>
            </a:endParaRPr>
          </a:p>
          <a:p>
            <a:pPr algn="r"/>
            <a:endParaRPr lang="da-DK" sz="1000" kern="1200" baseline="0">
              <a:solidFill>
                <a:schemeClr val="tx1"/>
              </a:solidFill>
              <a:latin typeface="+mn-lt"/>
              <a:ea typeface="+mn-ea"/>
              <a:cs typeface="+mn-cs"/>
            </a:endParaRPr>
          </a:p>
          <a:p>
            <a:pPr algn="r"/>
            <a:endParaRPr lang="da-DK" sz="1000" kern="1200" baseline="0">
              <a:solidFill>
                <a:schemeClr val="tx1"/>
              </a:solidFill>
              <a:latin typeface="+mn-lt"/>
              <a:ea typeface="+mn-ea"/>
              <a:cs typeface="+mn-cs"/>
            </a:endParaRPr>
          </a:p>
          <a:p>
            <a:pPr algn="r"/>
            <a:endParaRPr lang="da-DK" sz="1000" kern="1200" baseline="0">
              <a:solidFill>
                <a:schemeClr val="tx1"/>
              </a:solidFill>
              <a:latin typeface="+mn-lt"/>
              <a:ea typeface="+mn-ea"/>
              <a:cs typeface="+mn-cs"/>
            </a:endParaRPr>
          </a:p>
          <a:p>
            <a:pPr algn="r"/>
            <a:endParaRPr lang="da-DK" sz="1000" kern="1200" baseline="0">
              <a:solidFill>
                <a:schemeClr val="tx1"/>
              </a:solidFill>
              <a:latin typeface="+mn-lt"/>
              <a:ea typeface="+mn-ea"/>
              <a:cs typeface="+mn-cs"/>
            </a:endParaRPr>
          </a:p>
          <a:p>
            <a:pPr algn="r"/>
            <a:endParaRPr lang="da-DK" sz="1000" kern="1200" baseline="0">
              <a:solidFill>
                <a:schemeClr val="tx1"/>
              </a:solidFill>
              <a:latin typeface="+mn-lt"/>
              <a:ea typeface="+mn-ea"/>
              <a:cs typeface="+mn-cs"/>
            </a:endParaRPr>
          </a:p>
          <a:p>
            <a:pPr algn="r"/>
            <a:endParaRPr lang="da-DK" sz="1000" kern="1200" baseline="0">
              <a:solidFill>
                <a:schemeClr val="tx1"/>
              </a:solidFill>
              <a:latin typeface="+mn-lt"/>
              <a:ea typeface="+mn-ea"/>
              <a:cs typeface="+mn-cs"/>
            </a:endParaRPr>
          </a:p>
          <a:p>
            <a:pPr algn="r"/>
            <a:endParaRPr lang="da-DK" sz="1000" kern="1200" baseline="0">
              <a:solidFill>
                <a:schemeClr val="tx1"/>
              </a:solidFill>
              <a:latin typeface="+mn-lt"/>
              <a:ea typeface="+mn-ea"/>
              <a:cs typeface="+mn-cs"/>
            </a:endParaRPr>
          </a:p>
          <a:p>
            <a:pPr algn="r"/>
            <a:endParaRPr lang="da-DK" sz="1000" kern="1200" baseline="0">
              <a:solidFill>
                <a:schemeClr val="tx1"/>
              </a:solidFill>
              <a:latin typeface="+mn-lt"/>
              <a:ea typeface="+mn-ea"/>
              <a:cs typeface="+mn-cs"/>
            </a:endParaRPr>
          </a:p>
          <a:p>
            <a:pPr algn="r"/>
            <a:endParaRPr lang="da-DK" sz="1000" kern="1200" baseline="0">
              <a:solidFill>
                <a:schemeClr val="tx1"/>
              </a:solidFill>
              <a:latin typeface="+mn-lt"/>
              <a:ea typeface="+mn-ea"/>
              <a:cs typeface="+mn-cs"/>
            </a:endParaRPr>
          </a:p>
          <a:p>
            <a:pPr algn="r"/>
            <a:endParaRPr lang="da-DK" sz="1000" kern="1200" baseline="0">
              <a:solidFill>
                <a:schemeClr val="tx1"/>
              </a:solidFill>
              <a:latin typeface="+mn-lt"/>
              <a:ea typeface="+mn-ea"/>
              <a:cs typeface="+mn-cs"/>
            </a:endParaRPr>
          </a:p>
          <a:p>
            <a:pPr algn="r"/>
            <a:endParaRPr lang="da-DK" sz="1000" kern="1200" baseline="0">
              <a:solidFill>
                <a:schemeClr val="tx1"/>
              </a:solidFill>
              <a:latin typeface="+mn-lt"/>
              <a:ea typeface="+mn-ea"/>
              <a:cs typeface="+mn-cs"/>
            </a:endParaRPr>
          </a:p>
          <a:p>
            <a:pPr algn="r"/>
            <a:endParaRPr lang="da-DK" sz="1000" kern="1200" baseline="0">
              <a:solidFill>
                <a:schemeClr val="tx1"/>
              </a:solidFill>
              <a:latin typeface="+mn-lt"/>
              <a:ea typeface="+mn-ea"/>
              <a:cs typeface="+mn-cs"/>
            </a:endParaRPr>
          </a:p>
          <a:p>
            <a:pPr algn="r"/>
            <a:endParaRPr lang="da-DK" sz="1000" kern="1200" baseline="0">
              <a:solidFill>
                <a:schemeClr val="tx1"/>
              </a:solidFill>
              <a:latin typeface="+mn-lt"/>
              <a:ea typeface="+mn-ea"/>
              <a:cs typeface="+mn-cs"/>
            </a:endParaRPr>
          </a:p>
          <a:p>
            <a:pPr algn="r"/>
            <a:endParaRPr lang="da-DK" sz="1000" kern="1200" baseline="0">
              <a:solidFill>
                <a:schemeClr val="tx1"/>
              </a:solidFill>
              <a:latin typeface="+mn-lt"/>
              <a:ea typeface="+mn-ea"/>
              <a:cs typeface="+mn-cs"/>
            </a:endParaRPr>
          </a:p>
          <a:p>
            <a:pPr algn="r"/>
            <a:endParaRPr lang="da-DK" sz="1000" kern="1200" baseline="0">
              <a:solidFill>
                <a:schemeClr val="tx1"/>
              </a:solidFill>
              <a:latin typeface="+mn-lt"/>
              <a:ea typeface="+mn-ea"/>
              <a:cs typeface="+mn-cs"/>
            </a:endParaRPr>
          </a:p>
          <a:p>
            <a:pPr algn="r"/>
            <a:endParaRPr lang="da-DK" sz="1000" kern="1200" baseline="0">
              <a:solidFill>
                <a:schemeClr val="tx1"/>
              </a:solidFill>
              <a:latin typeface="+mn-lt"/>
              <a:ea typeface="+mn-ea"/>
              <a:cs typeface="+mn-cs"/>
            </a:endParaRPr>
          </a:p>
          <a:p>
            <a:pPr algn="r"/>
            <a:endParaRPr lang="da-DK" sz="1000" kern="1200" baseline="0">
              <a:solidFill>
                <a:schemeClr val="tx1"/>
              </a:solidFill>
              <a:latin typeface="+mn-lt"/>
              <a:ea typeface="+mn-ea"/>
              <a:cs typeface="+mn-cs"/>
            </a:endParaRPr>
          </a:p>
          <a:p>
            <a:pPr algn="r"/>
            <a:endParaRPr lang="da-DK" sz="1000" kern="1200" baseline="0">
              <a:solidFill>
                <a:schemeClr val="tx1"/>
              </a:solidFill>
              <a:latin typeface="+mn-lt"/>
              <a:ea typeface="+mn-ea"/>
              <a:cs typeface="+mn-cs"/>
            </a:endParaRPr>
          </a:p>
          <a:p>
            <a:pPr algn="r"/>
            <a:endParaRPr lang="da-DK" sz="1000" kern="1200" baseline="0">
              <a:solidFill>
                <a:schemeClr val="tx1"/>
              </a:solidFill>
              <a:latin typeface="+mn-lt"/>
              <a:ea typeface="+mn-ea"/>
              <a:cs typeface="+mn-cs"/>
            </a:endParaRPr>
          </a:p>
          <a:p>
            <a:pPr algn="r"/>
            <a:r>
              <a:rPr lang="da-DK" sz="1000" b="1" kern="1200" baseline="0">
                <a:solidFill>
                  <a:schemeClr val="tx1"/>
                </a:solidFill>
                <a:latin typeface="+mn-lt"/>
                <a:ea typeface="+mn-ea"/>
                <a:cs typeface="+mn-cs"/>
              </a:rPr>
              <a:t>Fremhævet tekst </a:t>
            </a:r>
          </a:p>
          <a:p>
            <a:pPr algn="r"/>
            <a:r>
              <a:rPr lang="da-DK" sz="1000" b="1" kern="1200" baseline="0">
                <a:solidFill>
                  <a:schemeClr val="tx1"/>
                </a:solidFill>
                <a:latin typeface="+mn-lt"/>
                <a:ea typeface="+mn-ea"/>
                <a:cs typeface="+mn-cs"/>
              </a:rPr>
              <a:t>sættes i Bold</a:t>
            </a:r>
          </a:p>
        </p:txBody>
      </p:sp>
      <p:sp>
        <p:nvSpPr>
          <p:cNvPr id="17" name="Text Placeholder 6">
            <a:extLst>
              <a:ext uri="{FF2B5EF4-FFF2-40B4-BE49-F238E27FC236}">
                <a16:creationId xmlns:a16="http://schemas.microsoft.com/office/drawing/2014/main" id="{5592812C-89AD-4A9D-997E-BF3AFC552221}"/>
              </a:ext>
            </a:extLst>
          </p:cNvPr>
          <p:cNvSpPr>
            <a:spLocks noGrp="1"/>
          </p:cNvSpPr>
          <p:nvPr>
            <p:ph type="body" sz="quarter" idx="16"/>
          </p:nvPr>
        </p:nvSpPr>
        <p:spPr>
          <a:xfrm>
            <a:off x="5922000" y="269790"/>
            <a:ext cx="349200" cy="349200"/>
          </a:xfrm>
          <a:blipFill>
            <a:blip r:embed="rId3"/>
            <a:stretch>
              <a:fillRect/>
            </a:stretch>
          </a:blipFill>
        </p:spPr>
        <p:txBody>
          <a:bodyPr anchor="ctr" anchorCtr="0">
            <a:normAutofit/>
          </a:bodyPr>
          <a:lstStyle>
            <a:lvl1pPr algn="ctr">
              <a:defRPr sz="100" b="0">
                <a:solidFill>
                  <a:srgbClr val="E30A0B"/>
                </a:solidFill>
              </a:defRPr>
            </a:lvl1pPr>
          </a:lstStyle>
          <a:p>
            <a:pPr lvl="0"/>
            <a:r>
              <a:rPr lang="en-US"/>
              <a:t>Edit Master text styles</a:t>
            </a:r>
          </a:p>
        </p:txBody>
      </p:sp>
    </p:spTree>
    <p:extLst>
      <p:ext uri="{BB962C8B-B14F-4D97-AF65-F5344CB8AC3E}">
        <p14:creationId xmlns:p14="http://schemas.microsoft.com/office/powerpoint/2010/main" val="21847544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rge Image and Text">
    <p:spTree>
      <p:nvGrpSpPr>
        <p:cNvPr id="1" name=""/>
        <p:cNvGrpSpPr/>
        <p:nvPr/>
      </p:nvGrpSpPr>
      <p:grpSpPr>
        <a:xfrm>
          <a:off x="0" y="0"/>
          <a:ext cx="0" cy="0"/>
          <a:chOff x="0" y="0"/>
          <a:chExt cx="0" cy="0"/>
        </a:xfrm>
      </p:grpSpPr>
      <p:sp>
        <p:nvSpPr>
          <p:cNvPr id="8" name="Pladsholder til billede 5">
            <a:extLst>
              <a:ext uri="{FF2B5EF4-FFF2-40B4-BE49-F238E27FC236}">
                <a16:creationId xmlns:a16="http://schemas.microsoft.com/office/drawing/2014/main" id="{B5C91276-46F3-4714-9729-BAD42F6D3A4B}"/>
              </a:ext>
            </a:extLst>
          </p:cNvPr>
          <p:cNvSpPr>
            <a:spLocks noGrp="1"/>
          </p:cNvSpPr>
          <p:nvPr>
            <p:ph type="pic" sz="quarter" idx="13"/>
          </p:nvPr>
        </p:nvSpPr>
        <p:spPr>
          <a:xfrm>
            <a:off x="-2" y="0"/>
            <a:ext cx="12192000" cy="6138000"/>
          </a:xfrm>
          <a:blipFill>
            <a:blip r:embed="rId2"/>
            <a:stretch>
              <a:fillRect/>
            </a:stretch>
          </a:blipFill>
        </p:spPr>
        <p:txBody>
          <a:bodyPr/>
          <a:lstStyle/>
          <a:p>
            <a:endParaRPr lang="da-DK"/>
          </a:p>
        </p:txBody>
      </p:sp>
      <p:sp>
        <p:nvSpPr>
          <p:cNvPr id="4" name="Pladsholder til sidefod 3">
            <a:extLst>
              <a:ext uri="{FF2B5EF4-FFF2-40B4-BE49-F238E27FC236}">
                <a16:creationId xmlns:a16="http://schemas.microsoft.com/office/drawing/2014/main" id="{FB7D23A1-6267-4A72-A300-027721C70596}"/>
              </a:ext>
            </a:extLst>
          </p:cNvPr>
          <p:cNvSpPr>
            <a:spLocks noGrp="1"/>
          </p:cNvSpPr>
          <p:nvPr>
            <p:ph type="ftr" sz="quarter" idx="11"/>
          </p:nvPr>
        </p:nvSpPr>
        <p:spPr/>
        <p:txBody>
          <a:bodyPr/>
          <a:lstStyle/>
          <a:p>
            <a:r>
              <a:rPr lang="da-DK"/>
              <a:t>RØDE KORS / Introduktionskursus for nye kasserere / 2025</a:t>
            </a:r>
          </a:p>
        </p:txBody>
      </p:sp>
      <p:sp>
        <p:nvSpPr>
          <p:cNvPr id="12" name="Text Placeholder 12">
            <a:extLst>
              <a:ext uri="{FF2B5EF4-FFF2-40B4-BE49-F238E27FC236}">
                <a16:creationId xmlns:a16="http://schemas.microsoft.com/office/drawing/2014/main" id="{7BE11E05-EB07-47A1-A1CC-94CCBAB10153}"/>
              </a:ext>
            </a:extLst>
          </p:cNvPr>
          <p:cNvSpPr>
            <a:spLocks noGrp="1"/>
          </p:cNvSpPr>
          <p:nvPr>
            <p:ph type="body" sz="quarter" idx="14"/>
          </p:nvPr>
        </p:nvSpPr>
        <p:spPr>
          <a:xfrm>
            <a:off x="719140" y="3429000"/>
            <a:ext cx="4932362" cy="2189747"/>
          </a:xfrm>
        </p:spPr>
        <p:txBody>
          <a:bodyPr anchor="b" anchorCtr="0">
            <a:normAutofit/>
          </a:bodyPr>
          <a:lstStyle>
            <a:lvl1pPr marL="0" indent="0">
              <a:buNone/>
              <a:defRPr b="1">
                <a:solidFill>
                  <a:schemeClr val="bg1"/>
                </a:solidFill>
              </a:defRPr>
            </a:lvl1pPr>
            <a:lvl2pPr marL="0" indent="0">
              <a:buFont typeface="Arial" panose="020B0604020202020204" pitchFamily="34" charset="0"/>
              <a:buNone/>
              <a:defRPr b="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a:t>Klik for at redigere teksttypografierne</a:t>
            </a:r>
            <a:endParaRPr lang="en-US" noProof="0"/>
          </a:p>
        </p:txBody>
      </p:sp>
      <p:sp>
        <p:nvSpPr>
          <p:cNvPr id="2" name="TextBox 15">
            <a:extLst>
              <a:ext uri="{FF2B5EF4-FFF2-40B4-BE49-F238E27FC236}">
                <a16:creationId xmlns:a16="http://schemas.microsoft.com/office/drawing/2014/main" id="{137EC53C-4A67-4445-9BAE-E4EE11961172}"/>
              </a:ext>
            </a:extLst>
          </p:cNvPr>
          <p:cNvSpPr txBox="1"/>
          <p:nvPr userDrawn="1"/>
        </p:nvSpPr>
        <p:spPr>
          <a:xfrm>
            <a:off x="-2130735" y="1664804"/>
            <a:ext cx="2016224" cy="923330"/>
          </a:xfrm>
          <a:prstGeom prst="rect">
            <a:avLst/>
          </a:prstGeom>
          <a:noFill/>
        </p:spPr>
        <p:txBody>
          <a:bodyPr wrap="square" lIns="0" tIns="0" rIns="0" bIns="0" rtlCol="0">
            <a:spAutoFit/>
          </a:bodyPr>
          <a:lstStyle/>
          <a:p>
            <a:pPr algn="r"/>
            <a:r>
              <a:rPr lang="da-DK" sz="1000" b="1" kern="1200" baseline="0">
                <a:solidFill>
                  <a:schemeClr val="tx1"/>
                </a:solidFill>
                <a:latin typeface="+mn-lt"/>
                <a:ea typeface="+mn-ea"/>
                <a:cs typeface="+mn-cs"/>
              </a:rPr>
              <a:t>Indsæt billede</a:t>
            </a:r>
            <a:endParaRPr lang="da-DK" sz="1000" kern="1200" baseline="0">
              <a:solidFill>
                <a:schemeClr val="tx1"/>
              </a:solidFill>
              <a:latin typeface="+mn-lt"/>
              <a:ea typeface="+mn-ea"/>
              <a:cs typeface="+mn-cs"/>
            </a:endParaRPr>
          </a:p>
          <a:p>
            <a:pPr algn="r"/>
            <a:r>
              <a:rPr lang="da-DK" sz="1000" kern="1200" baseline="0">
                <a:solidFill>
                  <a:schemeClr val="tx1"/>
                </a:solidFill>
                <a:latin typeface="+mn-lt"/>
                <a:ea typeface="+mn-ea"/>
                <a:cs typeface="+mn-cs"/>
              </a:rPr>
              <a:t>1. Klik på billede ikonet </a:t>
            </a:r>
          </a:p>
          <a:p>
            <a:pPr algn="r"/>
            <a:r>
              <a:rPr lang="da-DK" sz="1000" kern="1200" baseline="0">
                <a:solidFill>
                  <a:schemeClr val="tx1"/>
                </a:solidFill>
                <a:latin typeface="+mn-lt"/>
                <a:ea typeface="+mn-ea"/>
                <a:cs typeface="+mn-cs"/>
              </a:rPr>
              <a:t>og vælg dit billede</a:t>
            </a:r>
          </a:p>
          <a:p>
            <a:pPr algn="r"/>
            <a:r>
              <a:rPr lang="da-DK" sz="1000" kern="1200" baseline="0">
                <a:solidFill>
                  <a:schemeClr val="tx1"/>
                </a:solidFill>
                <a:latin typeface="+mn-lt"/>
                <a:ea typeface="+mn-ea"/>
                <a:cs typeface="+mn-cs"/>
              </a:rPr>
              <a:t>2. Højre klik på billede </a:t>
            </a:r>
            <a:br>
              <a:rPr lang="da-DK" sz="1000" kern="1200" baseline="0">
                <a:solidFill>
                  <a:schemeClr val="tx1"/>
                </a:solidFill>
                <a:latin typeface="+mn-lt"/>
                <a:ea typeface="+mn-ea"/>
                <a:cs typeface="+mn-cs"/>
              </a:rPr>
            </a:br>
            <a:r>
              <a:rPr lang="da-DK" sz="1000" kern="1200" baseline="0">
                <a:solidFill>
                  <a:schemeClr val="tx1"/>
                </a:solidFill>
                <a:latin typeface="+mn-lt"/>
                <a:ea typeface="+mn-ea"/>
                <a:cs typeface="+mn-cs"/>
              </a:rPr>
              <a:t>og vælg ’Placér bagerst’</a:t>
            </a:r>
          </a:p>
          <a:p>
            <a:pPr algn="r"/>
            <a:endParaRPr lang="da-DK" sz="1000" kern="1200" baseline="0">
              <a:solidFill>
                <a:schemeClr val="tx1"/>
              </a:solidFill>
              <a:latin typeface="+mn-lt"/>
              <a:ea typeface="+mn-ea"/>
              <a:cs typeface="+mn-cs"/>
            </a:endParaRPr>
          </a:p>
        </p:txBody>
      </p:sp>
      <p:sp>
        <p:nvSpPr>
          <p:cNvPr id="13" name="Text Placeholder 6">
            <a:extLst>
              <a:ext uri="{FF2B5EF4-FFF2-40B4-BE49-F238E27FC236}">
                <a16:creationId xmlns:a16="http://schemas.microsoft.com/office/drawing/2014/main" id="{D2DD4371-8907-438E-B7C1-C21C1170D378}"/>
              </a:ext>
            </a:extLst>
          </p:cNvPr>
          <p:cNvSpPr>
            <a:spLocks noGrp="1"/>
          </p:cNvSpPr>
          <p:nvPr>
            <p:ph type="body" sz="quarter" idx="16"/>
          </p:nvPr>
        </p:nvSpPr>
        <p:spPr>
          <a:xfrm>
            <a:off x="5922000" y="269790"/>
            <a:ext cx="349200" cy="349200"/>
          </a:xfrm>
          <a:blipFill>
            <a:blip r:embed="rId3"/>
            <a:stretch>
              <a:fillRect/>
            </a:stretch>
          </a:blipFill>
        </p:spPr>
        <p:txBody>
          <a:bodyPr anchor="ctr" anchorCtr="0">
            <a:normAutofit/>
          </a:bodyPr>
          <a:lstStyle>
            <a:lvl1pPr algn="ctr">
              <a:defRPr sz="100" b="0">
                <a:solidFill>
                  <a:srgbClr val="E30A0B"/>
                </a:solidFill>
              </a:defRPr>
            </a:lvl1pPr>
          </a:lstStyle>
          <a:p>
            <a:pPr lvl="0"/>
            <a:r>
              <a:rPr lang="en-US"/>
              <a:t>Edit Master text styles</a:t>
            </a:r>
          </a:p>
        </p:txBody>
      </p:sp>
    </p:spTree>
    <p:extLst>
      <p:ext uri="{BB962C8B-B14F-4D97-AF65-F5344CB8AC3E}">
        <p14:creationId xmlns:p14="http://schemas.microsoft.com/office/powerpoint/2010/main" val="255274320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Endslide">
    <p:spTree>
      <p:nvGrpSpPr>
        <p:cNvPr id="1" name=""/>
        <p:cNvGrpSpPr/>
        <p:nvPr/>
      </p:nvGrpSpPr>
      <p:grpSpPr>
        <a:xfrm>
          <a:off x="0" y="0"/>
          <a:ext cx="0" cy="0"/>
          <a:chOff x="0" y="0"/>
          <a:chExt cx="0" cy="0"/>
        </a:xfrm>
      </p:grpSpPr>
      <p:sp>
        <p:nvSpPr>
          <p:cNvPr id="9" name="Rectangle 5">
            <a:extLst>
              <a:ext uri="{FF2B5EF4-FFF2-40B4-BE49-F238E27FC236}">
                <a16:creationId xmlns:a16="http://schemas.microsoft.com/office/drawing/2014/main" id="{503A0399-9EB0-4F15-A851-FC404317A56C}"/>
              </a:ext>
            </a:extLst>
          </p:cNvPr>
          <p:cNvSpPr/>
          <p:nvPr userDrawn="1"/>
        </p:nvSpPr>
        <p:spPr>
          <a:xfrm>
            <a:off x="-3600" y="-3599"/>
            <a:ext cx="12195600" cy="6298074"/>
          </a:xfrm>
          <a:prstGeom prst="rect">
            <a:avLst/>
          </a:prstGeom>
          <a:solidFill>
            <a:srgbClr val="FAE3E9"/>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a:p>
        </p:txBody>
      </p:sp>
      <p:sp>
        <p:nvSpPr>
          <p:cNvPr id="2" name="Titel 1">
            <a:extLst>
              <a:ext uri="{FF2B5EF4-FFF2-40B4-BE49-F238E27FC236}">
                <a16:creationId xmlns:a16="http://schemas.microsoft.com/office/drawing/2014/main" id="{E970B227-EED5-4051-9FA7-77ABDA7073CD}"/>
              </a:ext>
            </a:extLst>
          </p:cNvPr>
          <p:cNvSpPr>
            <a:spLocks noGrp="1"/>
          </p:cNvSpPr>
          <p:nvPr>
            <p:ph type="title"/>
          </p:nvPr>
        </p:nvSpPr>
        <p:spPr/>
        <p:txBody>
          <a:bodyPr>
            <a:noAutofit/>
          </a:bodyPr>
          <a:lstStyle>
            <a:lvl1pPr>
              <a:defRPr sz="4000"/>
            </a:lvl1pPr>
          </a:lstStyle>
          <a:p>
            <a:r>
              <a:rPr lang="da-DK"/>
              <a:t>Klik for at redigere titeltypografien</a:t>
            </a:r>
          </a:p>
        </p:txBody>
      </p:sp>
      <p:sp>
        <p:nvSpPr>
          <p:cNvPr id="4" name="Pladsholder til sidefod 3">
            <a:extLst>
              <a:ext uri="{FF2B5EF4-FFF2-40B4-BE49-F238E27FC236}">
                <a16:creationId xmlns:a16="http://schemas.microsoft.com/office/drawing/2014/main" id="{FB7D23A1-6267-4A72-A300-027721C70596}"/>
              </a:ext>
            </a:extLst>
          </p:cNvPr>
          <p:cNvSpPr>
            <a:spLocks noGrp="1"/>
          </p:cNvSpPr>
          <p:nvPr>
            <p:ph type="ftr" sz="quarter" idx="11"/>
          </p:nvPr>
        </p:nvSpPr>
        <p:spPr/>
        <p:txBody>
          <a:bodyPr/>
          <a:lstStyle/>
          <a:p>
            <a:r>
              <a:rPr lang="da-DK"/>
              <a:t>RØDE KORS / Introduktionskursus for nye kasserere / 2025</a:t>
            </a:r>
          </a:p>
        </p:txBody>
      </p:sp>
      <p:pic>
        <p:nvPicPr>
          <p:cNvPr id="3" name="Picture 2" descr="D:\Transfer\RødeKors\PPT\logo\stor logo.wmf">
            <a:extLst>
              <a:ext uri="{FF2B5EF4-FFF2-40B4-BE49-F238E27FC236}">
                <a16:creationId xmlns:a16="http://schemas.microsoft.com/office/drawing/2014/main" id="{88B36915-1C2F-4C80-8256-9089174E6D0F}"/>
              </a:ext>
            </a:extLst>
          </p:cNvPr>
          <p:cNvPicPr>
            <a:picLocks noChangeAspect="1" noChangeArrowheads="1"/>
          </p:cNvPicPr>
          <p:nvPr userDrawn="1"/>
        </p:nvPicPr>
        <p:blipFill>
          <a:blip r:embed="rId2" cstate="screen"/>
          <a:srcRect/>
          <a:stretch>
            <a:fillRect/>
          </a:stretch>
        </p:blipFill>
        <p:spPr bwMode="auto">
          <a:xfrm>
            <a:off x="5619748" y="2903034"/>
            <a:ext cx="952500" cy="955675"/>
          </a:xfrm>
          <a:prstGeom prst="rect">
            <a:avLst/>
          </a:prstGeom>
          <a:noFill/>
        </p:spPr>
      </p:pic>
    </p:spTree>
    <p:extLst>
      <p:ext uri="{BB962C8B-B14F-4D97-AF65-F5344CB8AC3E}">
        <p14:creationId xmlns:p14="http://schemas.microsoft.com/office/powerpoint/2010/main" val="24518706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Only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970B227-EED5-4051-9FA7-77ABDA7073CD}"/>
              </a:ext>
            </a:extLst>
          </p:cNvPr>
          <p:cNvSpPr>
            <a:spLocks noGrp="1"/>
          </p:cNvSpPr>
          <p:nvPr>
            <p:ph type="title"/>
          </p:nvPr>
        </p:nvSpPr>
        <p:spPr/>
        <p:txBody>
          <a:bodyPr/>
          <a:lstStyle/>
          <a:p>
            <a:r>
              <a:rPr lang="da-DK"/>
              <a:t>Klik for at redigere titeltypografien i masteren</a:t>
            </a:r>
          </a:p>
        </p:txBody>
      </p:sp>
      <p:sp>
        <p:nvSpPr>
          <p:cNvPr id="4" name="Pladsholder til sidefod 3">
            <a:extLst>
              <a:ext uri="{FF2B5EF4-FFF2-40B4-BE49-F238E27FC236}">
                <a16:creationId xmlns:a16="http://schemas.microsoft.com/office/drawing/2014/main" id="{FB7D23A1-6267-4A72-A300-027721C70596}"/>
              </a:ext>
            </a:extLst>
          </p:cNvPr>
          <p:cNvSpPr>
            <a:spLocks noGrp="1"/>
          </p:cNvSpPr>
          <p:nvPr>
            <p:ph type="ftr" sz="quarter" idx="11"/>
          </p:nvPr>
        </p:nvSpPr>
        <p:spPr/>
        <p:txBody>
          <a:bodyPr/>
          <a:lstStyle/>
          <a:p>
            <a:r>
              <a:rPr lang="da-DK"/>
              <a:t>RØDE KORS / Introduktionskursus for nye kasserere / 2025</a:t>
            </a:r>
          </a:p>
        </p:txBody>
      </p:sp>
      <p:pic>
        <p:nvPicPr>
          <p:cNvPr id="7" name="Picture 2" descr="D:\Transfer\RødeKors\PPT\logo\lille logo.wmf">
            <a:extLst>
              <a:ext uri="{FF2B5EF4-FFF2-40B4-BE49-F238E27FC236}">
                <a16:creationId xmlns:a16="http://schemas.microsoft.com/office/drawing/2014/main" id="{4746A85C-E327-4DF8-98C6-DC937BE6B098}"/>
              </a:ext>
            </a:extLst>
          </p:cNvPr>
          <p:cNvPicPr>
            <a:picLocks noChangeAspect="1" noChangeArrowheads="1"/>
          </p:cNvPicPr>
          <p:nvPr userDrawn="1"/>
        </p:nvPicPr>
        <p:blipFill>
          <a:blip r:embed="rId2" cstate="screen"/>
          <a:srcRect/>
          <a:stretch>
            <a:fillRect/>
          </a:stretch>
        </p:blipFill>
        <p:spPr bwMode="auto">
          <a:xfrm>
            <a:off x="5930902" y="274934"/>
            <a:ext cx="349250" cy="349250"/>
          </a:xfrm>
          <a:prstGeom prst="rect">
            <a:avLst/>
          </a:prstGeom>
          <a:noFill/>
        </p:spPr>
      </p:pic>
    </p:spTree>
    <p:extLst>
      <p:ext uri="{BB962C8B-B14F-4D97-AF65-F5344CB8AC3E}">
        <p14:creationId xmlns:p14="http://schemas.microsoft.com/office/powerpoint/2010/main" val="405893270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Emty">
    <p:spTree>
      <p:nvGrpSpPr>
        <p:cNvPr id="1" name=""/>
        <p:cNvGrpSpPr/>
        <p:nvPr/>
      </p:nvGrpSpPr>
      <p:grpSpPr>
        <a:xfrm>
          <a:off x="0" y="0"/>
          <a:ext cx="0" cy="0"/>
          <a:chOff x="0" y="0"/>
          <a:chExt cx="0" cy="0"/>
        </a:xfrm>
      </p:grpSpPr>
      <p:sp>
        <p:nvSpPr>
          <p:cNvPr id="3" name="Pladsholder til sidefod 2">
            <a:extLst>
              <a:ext uri="{FF2B5EF4-FFF2-40B4-BE49-F238E27FC236}">
                <a16:creationId xmlns:a16="http://schemas.microsoft.com/office/drawing/2014/main" id="{B1317EA6-55F3-47BF-A5D0-96B4E766F360}"/>
              </a:ext>
            </a:extLst>
          </p:cNvPr>
          <p:cNvSpPr>
            <a:spLocks noGrp="1"/>
          </p:cNvSpPr>
          <p:nvPr>
            <p:ph type="ftr" sz="quarter" idx="11"/>
          </p:nvPr>
        </p:nvSpPr>
        <p:spPr/>
        <p:txBody>
          <a:bodyPr/>
          <a:lstStyle/>
          <a:p>
            <a:r>
              <a:rPr lang="da-DK"/>
              <a:t>RØDE KORS / Introduktionskursus for nye kasserere / 2025</a:t>
            </a:r>
          </a:p>
        </p:txBody>
      </p:sp>
      <p:pic>
        <p:nvPicPr>
          <p:cNvPr id="6" name="Picture 2" descr="D:\Transfer\RødeKors\PPT\logo\lille logo.wmf">
            <a:extLst>
              <a:ext uri="{FF2B5EF4-FFF2-40B4-BE49-F238E27FC236}">
                <a16:creationId xmlns:a16="http://schemas.microsoft.com/office/drawing/2014/main" id="{D856C3D6-7FAD-4352-9F8D-48B13DB71551}"/>
              </a:ext>
            </a:extLst>
          </p:cNvPr>
          <p:cNvPicPr>
            <a:picLocks noChangeAspect="1" noChangeArrowheads="1"/>
          </p:cNvPicPr>
          <p:nvPr userDrawn="1"/>
        </p:nvPicPr>
        <p:blipFill>
          <a:blip r:embed="rId2" cstate="screen"/>
          <a:srcRect/>
          <a:stretch>
            <a:fillRect/>
          </a:stretch>
        </p:blipFill>
        <p:spPr bwMode="auto">
          <a:xfrm>
            <a:off x="5930902" y="274934"/>
            <a:ext cx="349250" cy="349250"/>
          </a:xfrm>
          <a:prstGeom prst="rect">
            <a:avLst/>
          </a:prstGeom>
          <a:noFill/>
        </p:spPr>
      </p:pic>
    </p:spTree>
    <p:extLst>
      <p:ext uri="{BB962C8B-B14F-4D97-AF65-F5344CB8AC3E}">
        <p14:creationId xmlns:p14="http://schemas.microsoft.com/office/powerpoint/2010/main" val="654706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Bullet poin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CB9BBD7-7394-4172-9B0B-9A7C4B7BE8BF}"/>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F4E0B56F-CC75-428B-94D5-1946D1E6AE25}"/>
              </a:ext>
            </a:extLst>
          </p:cNvPr>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p:txBody>
      </p:sp>
      <p:sp>
        <p:nvSpPr>
          <p:cNvPr id="5" name="Pladsholder til sidefod 4">
            <a:extLst>
              <a:ext uri="{FF2B5EF4-FFF2-40B4-BE49-F238E27FC236}">
                <a16:creationId xmlns:a16="http://schemas.microsoft.com/office/drawing/2014/main" id="{BFBC7653-9D7F-4D65-8B56-F40A0F6DFFB6}"/>
              </a:ext>
            </a:extLst>
          </p:cNvPr>
          <p:cNvSpPr>
            <a:spLocks noGrp="1"/>
          </p:cNvSpPr>
          <p:nvPr>
            <p:ph type="ftr" sz="quarter" idx="11"/>
          </p:nvPr>
        </p:nvSpPr>
        <p:spPr>
          <a:xfrm>
            <a:off x="838199" y="6413500"/>
            <a:ext cx="9531351" cy="237600"/>
          </a:xfrm>
        </p:spPr>
        <p:txBody>
          <a:bodyPr/>
          <a:lstStyle/>
          <a:p>
            <a:pPr algn="l"/>
            <a:r>
              <a:rPr lang="da-DK" dirty="0"/>
              <a:t>RØDE KORS / Introduktionskursus for nye kasserere / 2025</a:t>
            </a:r>
          </a:p>
        </p:txBody>
      </p:sp>
      <p:pic>
        <p:nvPicPr>
          <p:cNvPr id="8" name="Picture 2" descr="D:\Transfer\RødeKors\PPT\logo\lille logo.wmf">
            <a:extLst>
              <a:ext uri="{FF2B5EF4-FFF2-40B4-BE49-F238E27FC236}">
                <a16:creationId xmlns:a16="http://schemas.microsoft.com/office/drawing/2014/main" id="{0B8A9CF5-00B2-4399-A49D-86B5805693C0}"/>
              </a:ext>
            </a:extLst>
          </p:cNvPr>
          <p:cNvPicPr>
            <a:picLocks noChangeAspect="1" noChangeArrowheads="1"/>
          </p:cNvPicPr>
          <p:nvPr userDrawn="1"/>
        </p:nvPicPr>
        <p:blipFill>
          <a:blip r:embed="rId2" cstate="screen"/>
          <a:srcRect/>
          <a:stretch>
            <a:fillRect/>
          </a:stretch>
        </p:blipFill>
        <p:spPr bwMode="auto">
          <a:xfrm>
            <a:off x="5930902" y="274934"/>
            <a:ext cx="349250" cy="349250"/>
          </a:xfrm>
          <a:prstGeom prst="rect">
            <a:avLst/>
          </a:prstGeom>
          <a:noFill/>
        </p:spPr>
      </p:pic>
    </p:spTree>
    <p:extLst>
      <p:ext uri="{BB962C8B-B14F-4D97-AF65-F5344CB8AC3E}">
        <p14:creationId xmlns:p14="http://schemas.microsoft.com/office/powerpoint/2010/main" val="298450666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D7625CD-4BD3-476C-8CCB-A355E4470ABC}"/>
              </a:ext>
            </a:extLst>
          </p:cNvPr>
          <p:cNvGraphicFramePr>
            <a:graphicFrameLocks noChangeAspect="1"/>
          </p:cNvGraphicFramePr>
          <p:nvPr userDrawn="1">
            <p:custDataLst>
              <p:tags r:id="rId1"/>
            </p:custData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7" name="Object 6" hidden="1">
                        <a:extLst>
                          <a:ext uri="{FF2B5EF4-FFF2-40B4-BE49-F238E27FC236}">
                            <a16:creationId xmlns:a16="http://schemas.microsoft.com/office/drawing/2014/main" id="{8D7625CD-4BD3-476C-8CCB-A355E4470ABC}"/>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7041539-0E90-4D5C-BCBC-070DE1EED005}"/>
              </a:ext>
            </a:extLst>
          </p:cNvPr>
          <p:cNvSpPr/>
          <p:nvPr userDrawn="1">
            <p:custDataLst>
              <p:tags r:id="rId2"/>
            </p:custDataLst>
          </p:nvPr>
        </p:nvSpPr>
        <p:spPr>
          <a:xfrm>
            <a:off x="2"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0" indent="0" algn="ctr" rtl="0" eaLnBrk="1">
              <a:lnSpc>
                <a:spcPct val="90000"/>
              </a:lnSpc>
              <a:spcBef>
                <a:spcPct val="0"/>
              </a:spcBef>
              <a:spcAft>
                <a:spcPct val="0"/>
              </a:spcAft>
            </a:pPr>
            <a:endParaRPr lang="en-US" sz="3300" b="0" i="0" baseline="0">
              <a:latin typeface="Calibri Light" panose="020F0302020204030204" pitchFamily="34" charset="0"/>
              <a:ea typeface="+mj-ea"/>
              <a:cs typeface="+mj-cs"/>
              <a:sym typeface="Calibri Light" panose="020F0302020204030204" pitchFamily="34" charset="0"/>
            </a:endParaRPr>
          </a:p>
        </p:txBody>
      </p:sp>
      <p:sp>
        <p:nvSpPr>
          <p:cNvPr id="4" name="1 Shape Name"/>
          <p:cNvSpPr>
            <a:spLocks noGrp="1"/>
          </p:cNvSpPr>
          <p:nvPr>
            <p:ph type="title"/>
          </p:nvPr>
        </p:nvSpPr>
        <p:spPr>
          <a:prstGeom prst="rect">
            <a:avLst/>
          </a:prstGeom>
        </p:spPr>
        <p:txBody>
          <a:bodyPr/>
          <a:lstStyle/>
          <a:p>
            <a:endParaRPr/>
          </a:p>
        </p:txBody>
      </p:sp>
    </p:spTree>
    <p:extLst>
      <p:ext uri="{BB962C8B-B14F-4D97-AF65-F5344CB8AC3E}">
        <p14:creationId xmlns:p14="http://schemas.microsoft.com/office/powerpoint/2010/main" val="3568236888"/>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SPIRATION MUST US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D7625CD-4BD3-476C-8CCB-A355E4470ABC}"/>
              </a:ext>
            </a:extLst>
          </p:cNvPr>
          <p:cNvGraphicFramePr>
            <a:graphicFrameLocks noChangeAspect="1"/>
          </p:cNvGraphicFramePr>
          <p:nvPr userDrawn="1">
            <p:custDataLst>
              <p:tags r:id="rId1"/>
            </p:custData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7" name="Object 6" hidden="1">
                        <a:extLst>
                          <a:ext uri="{FF2B5EF4-FFF2-40B4-BE49-F238E27FC236}">
                            <a16:creationId xmlns:a16="http://schemas.microsoft.com/office/drawing/2014/main" id="{8D7625CD-4BD3-476C-8CCB-A355E4470ABC}"/>
                          </a:ext>
                        </a:extLst>
                      </p:cNvPr>
                      <p:cNvPicPr/>
                      <p:nvPr/>
                    </p:nvPicPr>
                    <p:blipFill>
                      <a:blip r:embed="rId5"/>
                      <a:stretch>
                        <a:fillRect/>
                      </a:stretch>
                    </p:blipFill>
                    <p:spPr>
                      <a:xfrm>
                        <a:off x="1590"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A7041539-0E90-4D5C-BCBC-070DE1EED005}"/>
              </a:ext>
            </a:extLst>
          </p:cNvPr>
          <p:cNvSpPr/>
          <p:nvPr userDrawn="1">
            <p:custDataLst>
              <p:tags r:id="rId2"/>
            </p:custDataLst>
          </p:nvPr>
        </p:nvSpPr>
        <p:spPr>
          <a:xfrm>
            <a:off x="2"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0000"/>
              </a:lnSpc>
              <a:spcBef>
                <a:spcPct val="0"/>
              </a:spcBef>
              <a:spcAft>
                <a:spcPct val="0"/>
              </a:spcAft>
            </a:pPr>
            <a:endParaRPr lang="en-US" sz="3300" b="0" i="0" baseline="0">
              <a:latin typeface="Calibri Light" panose="020F0302020204030204" pitchFamily="34" charset="0"/>
              <a:ea typeface="+mj-ea"/>
              <a:cs typeface="+mj-cs"/>
              <a:sym typeface="Calibri Light" panose="020F0302020204030204" pitchFamily="34" charset="0"/>
            </a:endParaRPr>
          </a:p>
        </p:txBody>
      </p:sp>
    </p:spTree>
    <p:extLst>
      <p:ext uri="{BB962C8B-B14F-4D97-AF65-F5344CB8AC3E}">
        <p14:creationId xmlns:p14="http://schemas.microsoft.com/office/powerpoint/2010/main" val="2994579455"/>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Numbered List ">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CB9BBD7-7394-4172-9B0B-9A7C4B7BE8BF}"/>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F4E0B56F-CC75-428B-94D5-1946D1E6AE25}"/>
              </a:ext>
            </a:extLst>
          </p:cNvPr>
          <p:cNvSpPr>
            <a:spLocks noGrp="1"/>
          </p:cNvSpPr>
          <p:nvPr>
            <p:ph idx="1"/>
          </p:nvPr>
        </p:nvSpPr>
        <p:spPr/>
        <p:txBody>
          <a:bodyPr/>
          <a:lstStyle>
            <a:lvl1pPr marL="342900" indent="-342900">
              <a:buClr>
                <a:schemeClr val="accent1"/>
              </a:buClr>
              <a:buFont typeface="+mj-lt"/>
              <a:buAutoNum type="arabicPeriod"/>
              <a:defRPr b="1"/>
            </a:lvl1p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p:txBody>
      </p:sp>
      <p:sp>
        <p:nvSpPr>
          <p:cNvPr id="5" name="Pladsholder til sidefod 4">
            <a:extLst>
              <a:ext uri="{FF2B5EF4-FFF2-40B4-BE49-F238E27FC236}">
                <a16:creationId xmlns:a16="http://schemas.microsoft.com/office/drawing/2014/main" id="{BFBC7653-9D7F-4D65-8B56-F40A0F6DFFB6}"/>
              </a:ext>
            </a:extLst>
          </p:cNvPr>
          <p:cNvSpPr>
            <a:spLocks noGrp="1"/>
          </p:cNvSpPr>
          <p:nvPr>
            <p:ph type="ftr" sz="quarter" idx="11"/>
          </p:nvPr>
        </p:nvSpPr>
        <p:spPr/>
        <p:txBody>
          <a:bodyPr/>
          <a:lstStyle/>
          <a:p>
            <a:r>
              <a:rPr lang="da-DK" dirty="0"/>
              <a:t>RØDE KORS / Introduktionskursus for nye kasserere / 2025</a:t>
            </a:r>
          </a:p>
        </p:txBody>
      </p:sp>
      <p:sp>
        <p:nvSpPr>
          <p:cNvPr id="4" name="TextBox 10">
            <a:extLst>
              <a:ext uri="{FF2B5EF4-FFF2-40B4-BE49-F238E27FC236}">
                <a16:creationId xmlns:a16="http://schemas.microsoft.com/office/drawing/2014/main" id="{8AA318DC-50FE-4596-A160-53C6FBF0DDBE}"/>
              </a:ext>
            </a:extLst>
          </p:cNvPr>
          <p:cNvSpPr txBox="1"/>
          <p:nvPr userDrawn="1"/>
        </p:nvSpPr>
        <p:spPr>
          <a:xfrm>
            <a:off x="-1512676" y="1916116"/>
            <a:ext cx="1332148" cy="461665"/>
          </a:xfrm>
          <a:prstGeom prst="rect">
            <a:avLst/>
          </a:prstGeom>
          <a:noFill/>
        </p:spPr>
        <p:txBody>
          <a:bodyPr wrap="square" lIns="0" tIns="0" rIns="0" bIns="0" rtlCol="0">
            <a:spAutoFit/>
          </a:bodyPr>
          <a:lstStyle/>
          <a:p>
            <a:pPr algn="r"/>
            <a:r>
              <a:rPr lang="da-DK" sz="1000" kern="1200" baseline="0">
                <a:solidFill>
                  <a:schemeClr val="tx1"/>
                </a:solidFill>
                <a:latin typeface="+mn-lt"/>
                <a:ea typeface="+mn-ea"/>
                <a:cs typeface="+mn-cs"/>
              </a:rPr>
              <a:t>De tre første ord beholdes i bold, resten i </a:t>
            </a:r>
            <a:r>
              <a:rPr lang="da-DK" sz="1000" kern="1200" baseline="0" err="1">
                <a:solidFill>
                  <a:schemeClr val="tx1"/>
                </a:solidFill>
                <a:latin typeface="+mn-lt"/>
                <a:ea typeface="+mn-ea"/>
                <a:cs typeface="+mn-cs"/>
              </a:rPr>
              <a:t>Regular</a:t>
            </a:r>
            <a:endParaRPr lang="da-DK" sz="1000">
              <a:solidFill>
                <a:schemeClr val="tx1"/>
              </a:solidFill>
            </a:endParaRPr>
          </a:p>
        </p:txBody>
      </p:sp>
      <p:pic>
        <p:nvPicPr>
          <p:cNvPr id="9" name="Picture 2" descr="D:\Transfer\RødeKors\PPT\logo\lille logo.wmf">
            <a:extLst>
              <a:ext uri="{FF2B5EF4-FFF2-40B4-BE49-F238E27FC236}">
                <a16:creationId xmlns:a16="http://schemas.microsoft.com/office/drawing/2014/main" id="{017C37F4-46CD-40ED-876B-538D74FD2A14}"/>
              </a:ext>
            </a:extLst>
          </p:cNvPr>
          <p:cNvPicPr>
            <a:picLocks noChangeAspect="1" noChangeArrowheads="1"/>
          </p:cNvPicPr>
          <p:nvPr userDrawn="1"/>
        </p:nvPicPr>
        <p:blipFill>
          <a:blip r:embed="rId2" cstate="screen"/>
          <a:srcRect/>
          <a:stretch>
            <a:fillRect/>
          </a:stretch>
        </p:blipFill>
        <p:spPr bwMode="auto">
          <a:xfrm>
            <a:off x="5930902" y="274934"/>
            <a:ext cx="349250" cy="349250"/>
          </a:xfrm>
          <a:prstGeom prst="rect">
            <a:avLst/>
          </a:prstGeom>
          <a:noFill/>
        </p:spPr>
      </p:pic>
    </p:spTree>
    <p:extLst>
      <p:ext uri="{BB962C8B-B14F-4D97-AF65-F5344CB8AC3E}">
        <p14:creationId xmlns:p14="http://schemas.microsoft.com/office/powerpoint/2010/main" val="175056340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No bullet poi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CB9BBD7-7394-4172-9B0B-9A7C4B7BE8BF}"/>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F4E0B56F-CC75-428B-94D5-1946D1E6AE25}"/>
              </a:ext>
            </a:extLst>
          </p:cNvPr>
          <p:cNvSpPr>
            <a:spLocks noGrp="1"/>
          </p:cNvSpPr>
          <p:nvPr>
            <p:ph idx="1"/>
          </p:nvPr>
        </p:nvSpPr>
        <p:spPr/>
        <p:txBody>
          <a:bodyPr/>
          <a:lstStyle>
            <a:lvl1pPr marL="0" indent="0">
              <a:spcBef>
                <a:spcPts val="2400"/>
              </a:spcBef>
              <a:buNone/>
              <a:defRPr/>
            </a:lvl1pPr>
          </a:lstStyle>
          <a:p>
            <a:pPr lvl="0"/>
            <a:r>
              <a:rPr lang="da-DK"/>
              <a:t>Klik for at redigere teksttypografierne i masteren</a:t>
            </a:r>
          </a:p>
        </p:txBody>
      </p:sp>
      <p:sp>
        <p:nvSpPr>
          <p:cNvPr id="5" name="Pladsholder til sidefod 4">
            <a:extLst>
              <a:ext uri="{FF2B5EF4-FFF2-40B4-BE49-F238E27FC236}">
                <a16:creationId xmlns:a16="http://schemas.microsoft.com/office/drawing/2014/main" id="{BFBC7653-9D7F-4D65-8B56-F40A0F6DFFB6}"/>
              </a:ext>
            </a:extLst>
          </p:cNvPr>
          <p:cNvSpPr>
            <a:spLocks noGrp="1"/>
          </p:cNvSpPr>
          <p:nvPr>
            <p:ph type="ftr" sz="quarter" idx="11"/>
          </p:nvPr>
        </p:nvSpPr>
        <p:spPr/>
        <p:txBody>
          <a:bodyPr/>
          <a:lstStyle/>
          <a:p>
            <a:r>
              <a:rPr lang="da-DK"/>
              <a:t>RØDE KORS / Introduktionskursus for nye kasserere / 2025</a:t>
            </a:r>
          </a:p>
        </p:txBody>
      </p:sp>
      <p:pic>
        <p:nvPicPr>
          <p:cNvPr id="4" name="Picture 2" descr="D:\Transfer\RødeKors\PPT\logo\lille logo.wmf">
            <a:extLst>
              <a:ext uri="{FF2B5EF4-FFF2-40B4-BE49-F238E27FC236}">
                <a16:creationId xmlns:a16="http://schemas.microsoft.com/office/drawing/2014/main" id="{5778493A-9F81-46DD-9DAA-796D387D6624}"/>
              </a:ext>
            </a:extLst>
          </p:cNvPr>
          <p:cNvPicPr>
            <a:picLocks noChangeAspect="1" noChangeArrowheads="1"/>
          </p:cNvPicPr>
          <p:nvPr userDrawn="1"/>
        </p:nvPicPr>
        <p:blipFill>
          <a:blip r:embed="rId2" cstate="screen"/>
          <a:srcRect/>
          <a:stretch>
            <a:fillRect/>
          </a:stretch>
        </p:blipFill>
        <p:spPr bwMode="auto">
          <a:xfrm>
            <a:off x="5930902" y="274934"/>
            <a:ext cx="349250" cy="349250"/>
          </a:xfrm>
          <a:prstGeom prst="rect">
            <a:avLst/>
          </a:prstGeom>
          <a:noFill/>
        </p:spPr>
      </p:pic>
    </p:spTree>
    <p:extLst>
      <p:ext uri="{BB962C8B-B14F-4D97-AF65-F5344CB8AC3E}">
        <p14:creationId xmlns:p14="http://schemas.microsoft.com/office/powerpoint/2010/main" val="229818257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lternative Title Slide Text aligned right">
    <p:spTree>
      <p:nvGrpSpPr>
        <p:cNvPr id="1" name=""/>
        <p:cNvGrpSpPr/>
        <p:nvPr/>
      </p:nvGrpSpPr>
      <p:grpSpPr>
        <a:xfrm>
          <a:off x="0" y="0"/>
          <a:ext cx="0" cy="0"/>
          <a:chOff x="0" y="0"/>
          <a:chExt cx="0" cy="0"/>
        </a:xfrm>
      </p:grpSpPr>
      <p:sp>
        <p:nvSpPr>
          <p:cNvPr id="7" name="Text Placeholder 9">
            <a:extLst>
              <a:ext uri="{FF2B5EF4-FFF2-40B4-BE49-F238E27FC236}">
                <a16:creationId xmlns:a16="http://schemas.microsoft.com/office/drawing/2014/main" id="{16180AF4-ACA8-4C67-85A6-768F633FCA0A}"/>
              </a:ext>
            </a:extLst>
          </p:cNvPr>
          <p:cNvSpPr>
            <a:spLocks noGrp="1"/>
          </p:cNvSpPr>
          <p:nvPr>
            <p:ph type="body" sz="quarter" idx="14"/>
          </p:nvPr>
        </p:nvSpPr>
        <p:spPr>
          <a:xfrm>
            <a:off x="5619000" y="2644792"/>
            <a:ext cx="954000" cy="957600"/>
          </a:xfrm>
          <a:blipFill>
            <a:blip r:embed="rId2"/>
            <a:stretch>
              <a:fillRect/>
            </a:stretch>
          </a:blipFill>
        </p:spPr>
        <p:txBody>
          <a:bodyPr anchor="ctr" anchorCtr="0">
            <a:normAutofit/>
          </a:bodyPr>
          <a:lstStyle>
            <a:lvl1pPr algn="ctr">
              <a:defRPr sz="100">
                <a:solidFill>
                  <a:srgbClr val="E30A0B"/>
                </a:solidFill>
              </a:defRPr>
            </a:lvl1pPr>
          </a:lstStyle>
          <a:p>
            <a:pPr lvl="0"/>
            <a:r>
              <a:rPr lang="en-US"/>
              <a:t>Edit Master text styles</a:t>
            </a:r>
          </a:p>
        </p:txBody>
      </p:sp>
      <p:sp>
        <p:nvSpPr>
          <p:cNvPr id="6" name="Pladsholder til billede 5">
            <a:extLst>
              <a:ext uri="{FF2B5EF4-FFF2-40B4-BE49-F238E27FC236}">
                <a16:creationId xmlns:a16="http://schemas.microsoft.com/office/drawing/2014/main" id="{895A78C2-4989-4126-B398-45BE5CED23B0}"/>
              </a:ext>
            </a:extLst>
          </p:cNvPr>
          <p:cNvSpPr>
            <a:spLocks noGrp="1"/>
          </p:cNvSpPr>
          <p:nvPr>
            <p:ph type="pic" sz="quarter" idx="12"/>
          </p:nvPr>
        </p:nvSpPr>
        <p:spPr>
          <a:xfrm>
            <a:off x="-2" y="0"/>
            <a:ext cx="12192002" cy="6138000"/>
          </a:xfrm>
          <a:blipFill>
            <a:blip r:embed="rId3"/>
            <a:stretch>
              <a:fillRect/>
            </a:stretch>
          </a:blipFill>
        </p:spPr>
        <p:txBody>
          <a:bodyPr/>
          <a:lstStyle/>
          <a:p>
            <a:endParaRPr lang="da-DK"/>
          </a:p>
        </p:txBody>
      </p:sp>
      <p:sp>
        <p:nvSpPr>
          <p:cNvPr id="3" name="Pladsholder til sidefod 2">
            <a:extLst>
              <a:ext uri="{FF2B5EF4-FFF2-40B4-BE49-F238E27FC236}">
                <a16:creationId xmlns:a16="http://schemas.microsoft.com/office/drawing/2014/main" id="{FAF372C8-F45E-4634-9F9F-324862934461}"/>
              </a:ext>
            </a:extLst>
          </p:cNvPr>
          <p:cNvSpPr>
            <a:spLocks noGrp="1"/>
          </p:cNvSpPr>
          <p:nvPr>
            <p:ph type="ftr" sz="quarter" idx="10"/>
          </p:nvPr>
        </p:nvSpPr>
        <p:spPr/>
        <p:txBody>
          <a:bodyPr/>
          <a:lstStyle/>
          <a:p>
            <a:r>
              <a:rPr lang="da-DK"/>
              <a:t>RØDE KORS / Introduktionskursus for nye kasserere / 2025</a:t>
            </a:r>
          </a:p>
        </p:txBody>
      </p:sp>
      <p:sp>
        <p:nvSpPr>
          <p:cNvPr id="9" name="TextBox 18">
            <a:extLst>
              <a:ext uri="{FF2B5EF4-FFF2-40B4-BE49-F238E27FC236}">
                <a16:creationId xmlns:a16="http://schemas.microsoft.com/office/drawing/2014/main" id="{7744C287-E9B6-4CFD-B386-AADD06987BAC}"/>
              </a:ext>
            </a:extLst>
          </p:cNvPr>
          <p:cNvSpPr txBox="1"/>
          <p:nvPr userDrawn="1"/>
        </p:nvSpPr>
        <p:spPr>
          <a:xfrm>
            <a:off x="-1512676" y="2859325"/>
            <a:ext cx="1332148" cy="1384995"/>
          </a:xfrm>
          <a:prstGeom prst="rect">
            <a:avLst/>
          </a:prstGeom>
          <a:noFill/>
        </p:spPr>
        <p:txBody>
          <a:bodyPr wrap="square" lIns="0" tIns="0" rIns="0" bIns="0" rtlCol="0">
            <a:spAutoFit/>
          </a:bodyPr>
          <a:lstStyle/>
          <a:p>
            <a:pPr algn="r"/>
            <a:r>
              <a:rPr lang="da-DK" sz="1000" kern="1200" baseline="0">
                <a:solidFill>
                  <a:schemeClr val="tx1"/>
                </a:solidFill>
                <a:latin typeface="+mn-lt"/>
                <a:ea typeface="+mn-ea"/>
                <a:cs typeface="+mn-cs"/>
              </a:rPr>
              <a:t>Billedindsætning:</a:t>
            </a:r>
          </a:p>
          <a:p>
            <a:pPr algn="r"/>
            <a:r>
              <a:rPr lang="da-DK" sz="1000" kern="1200" baseline="0">
                <a:solidFill>
                  <a:schemeClr val="tx1"/>
                </a:solidFill>
                <a:latin typeface="+mn-lt"/>
                <a:ea typeface="+mn-ea"/>
                <a:cs typeface="+mn-cs"/>
              </a:rPr>
              <a:t>Klik på billede ikonen og sæt dit billede ind.</a:t>
            </a:r>
          </a:p>
          <a:p>
            <a:pPr algn="r"/>
            <a:r>
              <a:rPr lang="da-DK" sz="1000" kern="1200" baseline="0">
                <a:solidFill>
                  <a:schemeClr val="tx1"/>
                </a:solidFill>
                <a:latin typeface="+mn-lt"/>
                <a:ea typeface="+mn-ea"/>
                <a:cs typeface="+mn-cs"/>
              </a:rPr>
              <a:t>Højre klik på billede og placér bagerst for at få Røde Kors-logoet frem</a:t>
            </a:r>
          </a:p>
          <a:p>
            <a:pPr algn="r"/>
            <a:endParaRPr lang="da-DK" sz="1000" kern="1200" baseline="0">
              <a:solidFill>
                <a:schemeClr val="tx1"/>
              </a:solidFill>
              <a:latin typeface="+mn-lt"/>
              <a:ea typeface="+mn-ea"/>
              <a:cs typeface="+mn-cs"/>
            </a:endParaRPr>
          </a:p>
        </p:txBody>
      </p:sp>
      <p:sp>
        <p:nvSpPr>
          <p:cNvPr id="2" name="Titel 1">
            <a:extLst>
              <a:ext uri="{FF2B5EF4-FFF2-40B4-BE49-F238E27FC236}">
                <a16:creationId xmlns:a16="http://schemas.microsoft.com/office/drawing/2014/main" id="{3C8E7506-0215-4A64-B988-798D0FBBE990}"/>
              </a:ext>
            </a:extLst>
          </p:cNvPr>
          <p:cNvSpPr>
            <a:spLocks noGrp="1"/>
          </p:cNvSpPr>
          <p:nvPr>
            <p:ph type="title"/>
          </p:nvPr>
        </p:nvSpPr>
        <p:spPr/>
        <p:txBody>
          <a:bodyPr>
            <a:noAutofit/>
          </a:bodyPr>
          <a:lstStyle>
            <a:lvl1pPr>
              <a:defRPr sz="4000">
                <a:solidFill>
                  <a:schemeClr val="bg1"/>
                </a:solidFill>
              </a:defRPr>
            </a:lvl1pPr>
          </a:lstStyle>
          <a:p>
            <a:r>
              <a:rPr lang="da-DK"/>
              <a:t>Klik for at redigere titeltypografien i masteren</a:t>
            </a:r>
          </a:p>
        </p:txBody>
      </p:sp>
      <p:sp>
        <p:nvSpPr>
          <p:cNvPr id="11" name="Pladsholder til tekst 10">
            <a:extLst>
              <a:ext uri="{FF2B5EF4-FFF2-40B4-BE49-F238E27FC236}">
                <a16:creationId xmlns:a16="http://schemas.microsoft.com/office/drawing/2014/main" id="{210D5454-630C-4F0F-BD9B-2D8615FF1712}"/>
              </a:ext>
            </a:extLst>
          </p:cNvPr>
          <p:cNvSpPr>
            <a:spLocks noGrp="1"/>
          </p:cNvSpPr>
          <p:nvPr>
            <p:ph type="body" sz="quarter" idx="15"/>
          </p:nvPr>
        </p:nvSpPr>
        <p:spPr>
          <a:xfrm>
            <a:off x="7833815" y="3602392"/>
            <a:ext cx="3519985" cy="2142771"/>
          </a:xfrm>
        </p:spPr>
        <p:txBody>
          <a:bodyPr anchor="b"/>
          <a:lstStyle>
            <a:lvl1pPr marL="0" indent="0" algn="r">
              <a:buNone/>
              <a:defRPr b="1">
                <a:solidFill>
                  <a:schemeClr val="bg1"/>
                </a:solidFill>
              </a:defRPr>
            </a:lvl1pPr>
          </a:lstStyle>
          <a:p>
            <a:pPr lvl="0"/>
            <a:r>
              <a:rPr lang="da-DK"/>
              <a:t>Klik for at redigere teksttypografierne i masteren</a:t>
            </a:r>
          </a:p>
        </p:txBody>
      </p:sp>
    </p:spTree>
    <p:extLst>
      <p:ext uri="{BB962C8B-B14F-4D97-AF65-F5344CB8AC3E}">
        <p14:creationId xmlns:p14="http://schemas.microsoft.com/office/powerpoint/2010/main" val="27356730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Rectangle 5">
            <a:extLst>
              <a:ext uri="{FF2B5EF4-FFF2-40B4-BE49-F238E27FC236}">
                <a16:creationId xmlns:a16="http://schemas.microsoft.com/office/drawing/2014/main" id="{9C5CF274-429E-4BFD-92F6-90572724E78C}"/>
              </a:ext>
            </a:extLst>
          </p:cNvPr>
          <p:cNvSpPr/>
          <p:nvPr userDrawn="1"/>
        </p:nvSpPr>
        <p:spPr>
          <a:xfrm>
            <a:off x="-3600" y="-3599"/>
            <a:ext cx="12195600" cy="6298074"/>
          </a:xfrm>
          <a:prstGeom prst="rect">
            <a:avLst/>
          </a:prstGeom>
          <a:solidFill>
            <a:srgbClr val="FAE3E9"/>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a:p>
        </p:txBody>
      </p:sp>
      <p:sp>
        <p:nvSpPr>
          <p:cNvPr id="2" name="Titel 1">
            <a:extLst>
              <a:ext uri="{FF2B5EF4-FFF2-40B4-BE49-F238E27FC236}">
                <a16:creationId xmlns:a16="http://schemas.microsoft.com/office/drawing/2014/main" id="{2CB9BBD7-7394-4172-9B0B-9A7C4B7BE8BF}"/>
              </a:ext>
            </a:extLst>
          </p:cNvPr>
          <p:cNvSpPr>
            <a:spLocks noGrp="1"/>
          </p:cNvSpPr>
          <p:nvPr>
            <p:ph type="title"/>
          </p:nvPr>
        </p:nvSpPr>
        <p:spPr/>
        <p:txBody>
          <a:bodyPr/>
          <a:lstStyle/>
          <a:p>
            <a:r>
              <a:rPr lang="da-DK"/>
              <a:t>Klik for at redigere titeltypografien i masteren</a:t>
            </a:r>
          </a:p>
        </p:txBody>
      </p:sp>
      <p:sp>
        <p:nvSpPr>
          <p:cNvPr id="5" name="Pladsholder til sidefod 4">
            <a:extLst>
              <a:ext uri="{FF2B5EF4-FFF2-40B4-BE49-F238E27FC236}">
                <a16:creationId xmlns:a16="http://schemas.microsoft.com/office/drawing/2014/main" id="{BFBC7653-9D7F-4D65-8B56-F40A0F6DFFB6}"/>
              </a:ext>
            </a:extLst>
          </p:cNvPr>
          <p:cNvSpPr>
            <a:spLocks noGrp="1"/>
          </p:cNvSpPr>
          <p:nvPr>
            <p:ph type="ftr" sz="quarter" idx="11"/>
          </p:nvPr>
        </p:nvSpPr>
        <p:spPr/>
        <p:txBody>
          <a:bodyPr/>
          <a:lstStyle/>
          <a:p>
            <a:r>
              <a:rPr lang="da-DK"/>
              <a:t>RØDE KORS / Introduktionskursus for nye kasserere / 2025</a:t>
            </a:r>
          </a:p>
        </p:txBody>
      </p:sp>
      <p:sp>
        <p:nvSpPr>
          <p:cNvPr id="9" name="Text Placeholder 8">
            <a:extLst>
              <a:ext uri="{FF2B5EF4-FFF2-40B4-BE49-F238E27FC236}">
                <a16:creationId xmlns:a16="http://schemas.microsoft.com/office/drawing/2014/main" id="{97D844B9-17A6-4F5B-856D-0B8B612DC341}"/>
              </a:ext>
            </a:extLst>
          </p:cNvPr>
          <p:cNvSpPr>
            <a:spLocks noGrp="1"/>
          </p:cNvSpPr>
          <p:nvPr>
            <p:ph type="body" sz="quarter" idx="13"/>
          </p:nvPr>
        </p:nvSpPr>
        <p:spPr>
          <a:xfrm>
            <a:off x="838198" y="1798310"/>
            <a:ext cx="10534651" cy="4124818"/>
          </a:xfrm>
        </p:spPr>
        <p:txBody>
          <a:bodyPr/>
          <a:lstStyle>
            <a:lvl1pPr marL="0" indent="0" algn="ctr">
              <a:lnSpc>
                <a:spcPct val="120000"/>
              </a:lnSpc>
              <a:buNone/>
              <a:defRPr sz="2900" b="0"/>
            </a:lvl1pPr>
            <a:lvl2pPr marL="0" indent="0" algn="ctr">
              <a:buFontTx/>
              <a:buNone/>
              <a:defRPr sz="2200"/>
            </a:lvl2pPr>
            <a:lvl3pPr marL="0" indent="0" algn="ctr">
              <a:buFontTx/>
              <a:buNone/>
              <a:defRPr/>
            </a:lvl3pPr>
            <a:lvl4pPr marL="0" indent="0" algn="ctr">
              <a:buFontTx/>
              <a:buNone/>
              <a:defRPr/>
            </a:lvl4pPr>
            <a:lvl5pPr marL="0" indent="0" algn="ctr">
              <a:buFontTx/>
              <a:buNone/>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a-DK" noProof="0"/>
          </a:p>
        </p:txBody>
      </p:sp>
      <p:pic>
        <p:nvPicPr>
          <p:cNvPr id="11" name="Picture 2" descr="D:\Transfer\RødeKors\PPT\logo\lille logo.wmf">
            <a:extLst>
              <a:ext uri="{FF2B5EF4-FFF2-40B4-BE49-F238E27FC236}">
                <a16:creationId xmlns:a16="http://schemas.microsoft.com/office/drawing/2014/main" id="{05637EBD-3111-41EE-9663-54EA48E299AD}"/>
              </a:ext>
            </a:extLst>
          </p:cNvPr>
          <p:cNvPicPr>
            <a:picLocks noChangeAspect="1" noChangeArrowheads="1"/>
          </p:cNvPicPr>
          <p:nvPr userDrawn="1"/>
        </p:nvPicPr>
        <p:blipFill>
          <a:blip r:embed="rId2" cstate="screen"/>
          <a:srcRect/>
          <a:stretch>
            <a:fillRect/>
          </a:stretch>
        </p:blipFill>
        <p:spPr bwMode="auto">
          <a:xfrm>
            <a:off x="5930902" y="274934"/>
            <a:ext cx="349250" cy="349250"/>
          </a:xfrm>
          <a:prstGeom prst="rect">
            <a:avLst/>
          </a:prstGeom>
          <a:noFill/>
        </p:spPr>
      </p:pic>
    </p:spTree>
    <p:extLst>
      <p:ext uri="{BB962C8B-B14F-4D97-AF65-F5344CB8AC3E}">
        <p14:creationId xmlns:p14="http://schemas.microsoft.com/office/powerpoint/2010/main" val="2019788582"/>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oto and bullet poi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D28EF3-A0BD-4185-BBDE-E9CEB3DBBD08}"/>
              </a:ext>
            </a:extLst>
          </p:cNvPr>
          <p:cNvSpPr>
            <a:spLocks noGrp="1"/>
          </p:cNvSpPr>
          <p:nvPr>
            <p:ph type="title"/>
          </p:nvPr>
        </p:nvSpPr>
        <p:spPr>
          <a:xfrm>
            <a:off x="838200" y="723900"/>
            <a:ext cx="4975746" cy="966788"/>
          </a:xfrm>
        </p:spPr>
        <p:txBody>
          <a:bodyPr/>
          <a:lstStyle/>
          <a:p>
            <a:r>
              <a:rPr lang="da-DK"/>
              <a:t>Klik for at redigere titeltypografien</a:t>
            </a:r>
          </a:p>
        </p:txBody>
      </p:sp>
      <p:sp>
        <p:nvSpPr>
          <p:cNvPr id="3" name="Pladsholder til indhold 2">
            <a:extLst>
              <a:ext uri="{FF2B5EF4-FFF2-40B4-BE49-F238E27FC236}">
                <a16:creationId xmlns:a16="http://schemas.microsoft.com/office/drawing/2014/main" id="{CA6283E6-86E4-459A-ADEF-0528BFE12D39}"/>
              </a:ext>
            </a:extLst>
          </p:cNvPr>
          <p:cNvSpPr>
            <a:spLocks noGrp="1"/>
          </p:cNvSpPr>
          <p:nvPr>
            <p:ph sz="half" idx="1"/>
          </p:nvPr>
        </p:nvSpPr>
        <p:spPr>
          <a:xfrm>
            <a:off x="838200" y="1825625"/>
            <a:ext cx="4975746" cy="4118400"/>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p:txBody>
      </p:sp>
      <p:sp>
        <p:nvSpPr>
          <p:cNvPr id="6" name="Pladsholder til sidefod 5">
            <a:extLst>
              <a:ext uri="{FF2B5EF4-FFF2-40B4-BE49-F238E27FC236}">
                <a16:creationId xmlns:a16="http://schemas.microsoft.com/office/drawing/2014/main" id="{BDC1DDF3-70E8-4DD1-B029-97B3D663625A}"/>
              </a:ext>
            </a:extLst>
          </p:cNvPr>
          <p:cNvSpPr>
            <a:spLocks noGrp="1"/>
          </p:cNvSpPr>
          <p:nvPr>
            <p:ph type="ftr" sz="quarter" idx="11"/>
          </p:nvPr>
        </p:nvSpPr>
        <p:spPr/>
        <p:txBody>
          <a:bodyPr/>
          <a:lstStyle/>
          <a:p>
            <a:r>
              <a:rPr lang="da-DK"/>
              <a:t>RØDE KORS / Introduktionskursus for nye kasserere / 2025</a:t>
            </a:r>
          </a:p>
        </p:txBody>
      </p:sp>
      <p:pic>
        <p:nvPicPr>
          <p:cNvPr id="9" name="Picture 2" descr="D:\Transfer\RødeKors\PPT\logo\lille logo.wmf">
            <a:extLst>
              <a:ext uri="{FF2B5EF4-FFF2-40B4-BE49-F238E27FC236}">
                <a16:creationId xmlns:a16="http://schemas.microsoft.com/office/drawing/2014/main" id="{521A36FA-58A2-487E-A63F-67DAF8CB0529}"/>
              </a:ext>
            </a:extLst>
          </p:cNvPr>
          <p:cNvPicPr>
            <a:picLocks noChangeAspect="1" noChangeArrowheads="1"/>
          </p:cNvPicPr>
          <p:nvPr userDrawn="1"/>
        </p:nvPicPr>
        <p:blipFill>
          <a:blip r:embed="rId2" cstate="screen"/>
          <a:srcRect/>
          <a:stretch>
            <a:fillRect/>
          </a:stretch>
        </p:blipFill>
        <p:spPr bwMode="auto">
          <a:xfrm>
            <a:off x="5930902" y="274934"/>
            <a:ext cx="349250" cy="349250"/>
          </a:xfrm>
          <a:prstGeom prst="rect">
            <a:avLst/>
          </a:prstGeom>
          <a:noFill/>
        </p:spPr>
      </p:pic>
      <p:sp>
        <p:nvSpPr>
          <p:cNvPr id="11" name="Pladsholder til billede 10">
            <a:extLst>
              <a:ext uri="{FF2B5EF4-FFF2-40B4-BE49-F238E27FC236}">
                <a16:creationId xmlns:a16="http://schemas.microsoft.com/office/drawing/2014/main" id="{944D1E41-61E3-41B1-A5E1-39192B6B6785}"/>
              </a:ext>
            </a:extLst>
          </p:cNvPr>
          <p:cNvSpPr>
            <a:spLocks noGrp="1"/>
          </p:cNvSpPr>
          <p:nvPr>
            <p:ph type="pic" sz="quarter" idx="13"/>
          </p:nvPr>
        </p:nvSpPr>
        <p:spPr>
          <a:xfrm>
            <a:off x="6378056" y="0"/>
            <a:ext cx="5808203" cy="6176963"/>
          </a:xfrm>
          <a:solidFill>
            <a:schemeClr val="bg2">
              <a:lumMod val="75000"/>
            </a:schemeClr>
          </a:solidFill>
        </p:spPr>
        <p:txBody>
          <a:bodyPr/>
          <a:lstStyle/>
          <a:p>
            <a:endParaRPr lang="da-DK"/>
          </a:p>
        </p:txBody>
      </p:sp>
    </p:spTree>
    <p:extLst>
      <p:ext uri="{BB962C8B-B14F-4D97-AF65-F5344CB8AC3E}">
        <p14:creationId xmlns:p14="http://schemas.microsoft.com/office/powerpoint/2010/main" val="22588222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oto and no bullet poin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D28EF3-A0BD-4185-BBDE-E9CEB3DBBD08}"/>
              </a:ext>
            </a:extLst>
          </p:cNvPr>
          <p:cNvSpPr>
            <a:spLocks noGrp="1"/>
          </p:cNvSpPr>
          <p:nvPr>
            <p:ph type="title"/>
          </p:nvPr>
        </p:nvSpPr>
        <p:spPr>
          <a:xfrm>
            <a:off x="838200" y="723900"/>
            <a:ext cx="4975746" cy="966788"/>
          </a:xfrm>
        </p:spPr>
        <p:txBody>
          <a:bodyPr/>
          <a:lstStyle/>
          <a:p>
            <a:r>
              <a:rPr lang="da-DK"/>
              <a:t>Klik for at redigere titeltypografien</a:t>
            </a:r>
          </a:p>
        </p:txBody>
      </p:sp>
      <p:sp>
        <p:nvSpPr>
          <p:cNvPr id="3" name="Pladsholder til indhold 2">
            <a:extLst>
              <a:ext uri="{FF2B5EF4-FFF2-40B4-BE49-F238E27FC236}">
                <a16:creationId xmlns:a16="http://schemas.microsoft.com/office/drawing/2014/main" id="{CA6283E6-86E4-459A-ADEF-0528BFE12D39}"/>
              </a:ext>
            </a:extLst>
          </p:cNvPr>
          <p:cNvSpPr>
            <a:spLocks noGrp="1"/>
          </p:cNvSpPr>
          <p:nvPr>
            <p:ph sz="half" idx="1"/>
          </p:nvPr>
        </p:nvSpPr>
        <p:spPr>
          <a:xfrm>
            <a:off x="838200" y="1825625"/>
            <a:ext cx="4975746" cy="4117975"/>
          </a:xfrm>
        </p:spPr>
        <p:txBody>
          <a:bodyPr/>
          <a:lstStyle>
            <a:lvl1pPr marL="0" indent="0">
              <a:buNone/>
              <a:defRPr/>
            </a:lvl1pPr>
          </a:lstStyle>
          <a:p>
            <a:pPr lvl="0"/>
            <a:r>
              <a:rPr lang="da-DK"/>
              <a:t>Klik for at redigere teksttypografierne i masteren</a:t>
            </a:r>
          </a:p>
        </p:txBody>
      </p:sp>
      <p:sp>
        <p:nvSpPr>
          <p:cNvPr id="6" name="Pladsholder til sidefod 5">
            <a:extLst>
              <a:ext uri="{FF2B5EF4-FFF2-40B4-BE49-F238E27FC236}">
                <a16:creationId xmlns:a16="http://schemas.microsoft.com/office/drawing/2014/main" id="{BDC1DDF3-70E8-4DD1-B029-97B3D663625A}"/>
              </a:ext>
            </a:extLst>
          </p:cNvPr>
          <p:cNvSpPr>
            <a:spLocks noGrp="1"/>
          </p:cNvSpPr>
          <p:nvPr>
            <p:ph type="ftr" sz="quarter" idx="11"/>
          </p:nvPr>
        </p:nvSpPr>
        <p:spPr/>
        <p:txBody>
          <a:bodyPr/>
          <a:lstStyle/>
          <a:p>
            <a:r>
              <a:rPr lang="da-DK"/>
              <a:t>RØDE KORS / Introduktionskursus for nye kasserere / 2025</a:t>
            </a:r>
          </a:p>
        </p:txBody>
      </p:sp>
      <p:pic>
        <p:nvPicPr>
          <p:cNvPr id="9" name="Picture 2" descr="D:\Transfer\RødeKors\PPT\logo\lille logo.wmf">
            <a:extLst>
              <a:ext uri="{FF2B5EF4-FFF2-40B4-BE49-F238E27FC236}">
                <a16:creationId xmlns:a16="http://schemas.microsoft.com/office/drawing/2014/main" id="{521A36FA-58A2-487E-A63F-67DAF8CB0529}"/>
              </a:ext>
            </a:extLst>
          </p:cNvPr>
          <p:cNvPicPr>
            <a:picLocks noChangeAspect="1" noChangeArrowheads="1"/>
          </p:cNvPicPr>
          <p:nvPr userDrawn="1"/>
        </p:nvPicPr>
        <p:blipFill>
          <a:blip r:embed="rId2" cstate="screen"/>
          <a:srcRect/>
          <a:stretch>
            <a:fillRect/>
          </a:stretch>
        </p:blipFill>
        <p:spPr bwMode="auto">
          <a:xfrm>
            <a:off x="5930902" y="274934"/>
            <a:ext cx="349250" cy="349250"/>
          </a:xfrm>
          <a:prstGeom prst="rect">
            <a:avLst/>
          </a:prstGeom>
          <a:noFill/>
        </p:spPr>
      </p:pic>
      <p:sp>
        <p:nvSpPr>
          <p:cNvPr id="11" name="Pladsholder til billede 10">
            <a:extLst>
              <a:ext uri="{FF2B5EF4-FFF2-40B4-BE49-F238E27FC236}">
                <a16:creationId xmlns:a16="http://schemas.microsoft.com/office/drawing/2014/main" id="{944D1E41-61E3-41B1-A5E1-39192B6B6785}"/>
              </a:ext>
            </a:extLst>
          </p:cNvPr>
          <p:cNvSpPr>
            <a:spLocks noGrp="1"/>
          </p:cNvSpPr>
          <p:nvPr>
            <p:ph type="pic" sz="quarter" idx="13"/>
          </p:nvPr>
        </p:nvSpPr>
        <p:spPr>
          <a:xfrm>
            <a:off x="6378056" y="0"/>
            <a:ext cx="5808203" cy="6176963"/>
          </a:xfrm>
          <a:solidFill>
            <a:schemeClr val="bg2">
              <a:lumMod val="75000"/>
            </a:schemeClr>
          </a:solidFill>
        </p:spPr>
        <p:txBody>
          <a:bodyPr/>
          <a:lstStyle/>
          <a:p>
            <a:endParaRPr lang="da-DK"/>
          </a:p>
        </p:txBody>
      </p:sp>
    </p:spTree>
    <p:extLst>
      <p:ext uri="{BB962C8B-B14F-4D97-AF65-F5344CB8AC3E}">
        <p14:creationId xmlns:p14="http://schemas.microsoft.com/office/powerpoint/2010/main" val="14769738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agram and bullet poin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D28EF3-A0BD-4185-BBDE-E9CEB3DBBD08}"/>
              </a:ext>
            </a:extLst>
          </p:cNvPr>
          <p:cNvSpPr>
            <a:spLocks noGrp="1"/>
          </p:cNvSpPr>
          <p:nvPr>
            <p:ph type="title"/>
          </p:nvPr>
        </p:nvSpPr>
        <p:spPr>
          <a:xfrm>
            <a:off x="838200" y="723900"/>
            <a:ext cx="4975746" cy="966788"/>
          </a:xfrm>
        </p:spPr>
        <p:txBody>
          <a:bodyPr/>
          <a:lstStyle/>
          <a:p>
            <a:r>
              <a:rPr lang="da-DK"/>
              <a:t>Klik for at redigere titeltypografien</a:t>
            </a:r>
          </a:p>
        </p:txBody>
      </p:sp>
      <p:sp>
        <p:nvSpPr>
          <p:cNvPr id="3" name="Pladsholder til indhold 2">
            <a:extLst>
              <a:ext uri="{FF2B5EF4-FFF2-40B4-BE49-F238E27FC236}">
                <a16:creationId xmlns:a16="http://schemas.microsoft.com/office/drawing/2014/main" id="{CA6283E6-86E4-459A-ADEF-0528BFE12D39}"/>
              </a:ext>
            </a:extLst>
          </p:cNvPr>
          <p:cNvSpPr>
            <a:spLocks noGrp="1"/>
          </p:cNvSpPr>
          <p:nvPr>
            <p:ph sz="half" idx="1"/>
          </p:nvPr>
        </p:nvSpPr>
        <p:spPr>
          <a:xfrm>
            <a:off x="838200" y="1825625"/>
            <a:ext cx="4975746" cy="4118400"/>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p:txBody>
      </p:sp>
      <p:sp>
        <p:nvSpPr>
          <p:cNvPr id="6" name="Pladsholder til sidefod 5">
            <a:extLst>
              <a:ext uri="{FF2B5EF4-FFF2-40B4-BE49-F238E27FC236}">
                <a16:creationId xmlns:a16="http://schemas.microsoft.com/office/drawing/2014/main" id="{BDC1DDF3-70E8-4DD1-B029-97B3D663625A}"/>
              </a:ext>
            </a:extLst>
          </p:cNvPr>
          <p:cNvSpPr>
            <a:spLocks noGrp="1"/>
          </p:cNvSpPr>
          <p:nvPr>
            <p:ph type="ftr" sz="quarter" idx="11"/>
          </p:nvPr>
        </p:nvSpPr>
        <p:spPr/>
        <p:txBody>
          <a:bodyPr/>
          <a:lstStyle/>
          <a:p>
            <a:r>
              <a:rPr lang="da-DK"/>
              <a:t>RØDE KORS / Introduktionskursus for nye kasserere / 2025</a:t>
            </a:r>
          </a:p>
        </p:txBody>
      </p:sp>
      <p:pic>
        <p:nvPicPr>
          <p:cNvPr id="9" name="Picture 2" descr="D:\Transfer\RødeKors\PPT\logo\lille logo.wmf">
            <a:extLst>
              <a:ext uri="{FF2B5EF4-FFF2-40B4-BE49-F238E27FC236}">
                <a16:creationId xmlns:a16="http://schemas.microsoft.com/office/drawing/2014/main" id="{521A36FA-58A2-487E-A63F-67DAF8CB0529}"/>
              </a:ext>
            </a:extLst>
          </p:cNvPr>
          <p:cNvPicPr>
            <a:picLocks noChangeAspect="1" noChangeArrowheads="1"/>
          </p:cNvPicPr>
          <p:nvPr userDrawn="1"/>
        </p:nvPicPr>
        <p:blipFill>
          <a:blip r:embed="rId2" cstate="screen"/>
          <a:srcRect/>
          <a:stretch>
            <a:fillRect/>
          </a:stretch>
        </p:blipFill>
        <p:spPr bwMode="auto">
          <a:xfrm>
            <a:off x="5930902" y="274934"/>
            <a:ext cx="349250" cy="349250"/>
          </a:xfrm>
          <a:prstGeom prst="rect">
            <a:avLst/>
          </a:prstGeom>
          <a:noFill/>
        </p:spPr>
      </p:pic>
      <p:sp>
        <p:nvSpPr>
          <p:cNvPr id="5" name="Pladsholder til diagram 4">
            <a:extLst>
              <a:ext uri="{FF2B5EF4-FFF2-40B4-BE49-F238E27FC236}">
                <a16:creationId xmlns:a16="http://schemas.microsoft.com/office/drawing/2014/main" id="{DA849CC6-76E9-40A0-8542-1158573A6EBC}"/>
              </a:ext>
            </a:extLst>
          </p:cNvPr>
          <p:cNvSpPr>
            <a:spLocks noGrp="1"/>
          </p:cNvSpPr>
          <p:nvPr>
            <p:ph type="chart" sz="quarter" idx="13"/>
          </p:nvPr>
        </p:nvSpPr>
        <p:spPr>
          <a:xfrm>
            <a:off x="6378052" y="723900"/>
            <a:ext cx="4975746" cy="5220125"/>
          </a:xfrm>
        </p:spPr>
        <p:txBody>
          <a:bodyPr/>
          <a:lstStyle/>
          <a:p>
            <a:endParaRPr lang="da-DK"/>
          </a:p>
        </p:txBody>
      </p:sp>
    </p:spTree>
    <p:extLst>
      <p:ext uri="{BB962C8B-B14F-4D97-AF65-F5344CB8AC3E}">
        <p14:creationId xmlns:p14="http://schemas.microsoft.com/office/powerpoint/2010/main" val="29815002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titel 1">
            <a:extLst>
              <a:ext uri="{FF2B5EF4-FFF2-40B4-BE49-F238E27FC236}">
                <a16:creationId xmlns:a16="http://schemas.microsoft.com/office/drawing/2014/main" id="{FE2679A9-4ADB-4ED9-8CDE-02480445D605}"/>
              </a:ext>
            </a:extLst>
          </p:cNvPr>
          <p:cNvSpPr>
            <a:spLocks noGrp="1"/>
          </p:cNvSpPr>
          <p:nvPr>
            <p:ph type="title"/>
          </p:nvPr>
        </p:nvSpPr>
        <p:spPr>
          <a:xfrm>
            <a:off x="838200" y="723900"/>
            <a:ext cx="10515600" cy="966788"/>
          </a:xfrm>
          <a:prstGeom prst="rect">
            <a:avLst/>
          </a:prstGeom>
        </p:spPr>
        <p:txBody>
          <a:bodyPr vert="horz" lIns="0" tIns="0" rIns="0" bIns="0" rtlCol="0" anchor="t">
            <a:normAutofit/>
          </a:bodyPr>
          <a:lstStyle/>
          <a:p>
            <a:r>
              <a:rPr lang="da-DK"/>
              <a:t>Klik for at redigere titeltypografien i masteren</a:t>
            </a:r>
          </a:p>
        </p:txBody>
      </p:sp>
      <p:sp>
        <p:nvSpPr>
          <p:cNvPr id="3" name="Pladsholder til tekst 2">
            <a:extLst>
              <a:ext uri="{FF2B5EF4-FFF2-40B4-BE49-F238E27FC236}">
                <a16:creationId xmlns:a16="http://schemas.microsoft.com/office/drawing/2014/main" id="{91184E77-2E32-4FF5-AF83-21D0F76F39B3}"/>
              </a:ext>
            </a:extLst>
          </p:cNvPr>
          <p:cNvSpPr>
            <a:spLocks noGrp="1"/>
          </p:cNvSpPr>
          <p:nvPr>
            <p:ph type="body" idx="1"/>
          </p:nvPr>
        </p:nvSpPr>
        <p:spPr>
          <a:xfrm>
            <a:off x="838200" y="1825625"/>
            <a:ext cx="10515600" cy="4394200"/>
          </a:xfrm>
          <a:prstGeom prst="rect">
            <a:avLst/>
          </a:prstGeom>
        </p:spPr>
        <p:txBody>
          <a:bodyPr vert="horz" lIns="0" tIns="0" rIns="0" bIns="0" rtlCol="0">
            <a:normAutofit/>
          </a:body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p:txBody>
      </p:sp>
      <p:sp>
        <p:nvSpPr>
          <p:cNvPr id="5" name="Pladsholder til sidefod 4">
            <a:extLst>
              <a:ext uri="{FF2B5EF4-FFF2-40B4-BE49-F238E27FC236}">
                <a16:creationId xmlns:a16="http://schemas.microsoft.com/office/drawing/2014/main" id="{BA706337-FF39-452E-8616-917F4FB82A5A}"/>
              </a:ext>
            </a:extLst>
          </p:cNvPr>
          <p:cNvSpPr>
            <a:spLocks noGrp="1"/>
          </p:cNvSpPr>
          <p:nvPr>
            <p:ph type="ftr" sz="quarter" idx="3"/>
          </p:nvPr>
        </p:nvSpPr>
        <p:spPr>
          <a:xfrm>
            <a:off x="838199" y="6413500"/>
            <a:ext cx="10515600" cy="266700"/>
          </a:xfrm>
          <a:prstGeom prst="rect">
            <a:avLst/>
          </a:prstGeom>
        </p:spPr>
        <p:txBody>
          <a:bodyPr vert="horz" lIns="0" tIns="0" rIns="0" bIns="0" rtlCol="0" anchor="ctr"/>
          <a:lstStyle>
            <a:lvl1pPr algn="ctr">
              <a:defRPr sz="900">
                <a:solidFill>
                  <a:schemeClr val="tx1"/>
                </a:solidFill>
              </a:defRPr>
            </a:lvl1pPr>
          </a:lstStyle>
          <a:p>
            <a:r>
              <a:rPr lang="da-DK"/>
              <a:t>RØDE KORS / Introduktionskursus for nye kasserere / 2025</a:t>
            </a:r>
          </a:p>
        </p:txBody>
      </p:sp>
    </p:spTree>
    <p:extLst>
      <p:ext uri="{BB962C8B-B14F-4D97-AF65-F5344CB8AC3E}">
        <p14:creationId xmlns:p14="http://schemas.microsoft.com/office/powerpoint/2010/main" val="29081186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74" r:id="rId3"/>
    <p:sldLayoutId id="2147483673" r:id="rId4"/>
    <p:sldLayoutId id="2147483675" r:id="rId5"/>
    <p:sldLayoutId id="2147483676" r:id="rId6"/>
    <p:sldLayoutId id="2147483652" r:id="rId7"/>
    <p:sldLayoutId id="2147483677" r:id="rId8"/>
    <p:sldLayoutId id="2147483678" r:id="rId9"/>
    <p:sldLayoutId id="2147483679" r:id="rId10"/>
    <p:sldLayoutId id="2147483653" r:id="rId11"/>
    <p:sldLayoutId id="2147483680" r:id="rId12"/>
    <p:sldLayoutId id="2147483654" r:id="rId13"/>
    <p:sldLayoutId id="2147483672" r:id="rId14"/>
    <p:sldLayoutId id="2147483682" r:id="rId15"/>
    <p:sldLayoutId id="2147483670" r:id="rId16"/>
    <p:sldLayoutId id="2147483671" r:id="rId17"/>
    <p:sldLayoutId id="2147483681" r:id="rId18"/>
    <p:sldLayoutId id="2147483655" r:id="rId19"/>
    <p:sldLayoutId id="2147483683" r:id="rId20"/>
    <p:sldLayoutId id="2147483684" r:id="rId21"/>
  </p:sldLayoutIdLst>
  <p:hf hdr="0" dt="0"/>
  <p:txStyles>
    <p:titleStyle>
      <a:lvl1pPr algn="ctr" defTabSz="914400" rtl="0" eaLnBrk="1" latinLnBrk="0" hangingPunct="1">
        <a:lnSpc>
          <a:spcPct val="90000"/>
        </a:lnSpc>
        <a:spcBef>
          <a:spcPct val="0"/>
        </a:spcBef>
        <a:buNone/>
        <a:defRPr sz="2900" b="1" kern="1200" baseline="0">
          <a:solidFill>
            <a:schemeClr val="tx1"/>
          </a:solidFill>
          <a:latin typeface="+mj-lt"/>
          <a:ea typeface="+mj-ea"/>
          <a:cs typeface="+mj-cs"/>
        </a:defRPr>
      </a:lvl1pPr>
    </p:titleStyle>
    <p:bodyStyle>
      <a:lvl1pPr marL="284400" indent="-284400" algn="l" defTabSz="914400" rtl="0" eaLnBrk="1" latinLnBrk="0" hangingPunct="1">
        <a:lnSpc>
          <a:spcPct val="110000"/>
        </a:lnSpc>
        <a:spcBef>
          <a:spcPts val="1000"/>
        </a:spcBef>
        <a:buFont typeface="Arial" panose="020B0604020202020204" pitchFamily="34" charset="0"/>
        <a:buChar char="•"/>
        <a:defRPr sz="1800" kern="1200">
          <a:solidFill>
            <a:schemeClr val="tx1"/>
          </a:solidFill>
          <a:latin typeface="+mn-lt"/>
          <a:ea typeface="+mn-ea"/>
          <a:cs typeface="+mn-cs"/>
        </a:defRPr>
      </a:lvl1pPr>
      <a:lvl2pPr marL="586800" indent="-334800" algn="l" defTabSz="914400" rtl="0" eaLnBrk="1" latinLnBrk="0" hangingPunct="1">
        <a:lnSpc>
          <a:spcPct val="110000"/>
        </a:lnSpc>
        <a:spcBef>
          <a:spcPts val="0"/>
        </a:spcBef>
        <a:buFont typeface="Verdana" panose="020B0604030504040204" pitchFamily="34" charset="0"/>
        <a:buChar char="‒"/>
        <a:defRPr sz="1800" kern="1200">
          <a:solidFill>
            <a:schemeClr val="tx1"/>
          </a:solidFill>
          <a:latin typeface="+mn-lt"/>
          <a:ea typeface="+mn-ea"/>
          <a:cs typeface="+mn-cs"/>
        </a:defRPr>
      </a:lvl2pPr>
      <a:lvl3pPr marL="853200" indent="-270000" algn="l" defTabSz="914400" rtl="0" eaLnBrk="1" latinLnBrk="0" hangingPunct="1">
        <a:lnSpc>
          <a:spcPct val="110000"/>
        </a:lnSpc>
        <a:spcBef>
          <a:spcPts val="0"/>
        </a:spcBef>
        <a:buFont typeface="Verdana" panose="020B0604030504040204" pitchFamily="34" charset="0"/>
        <a:buChar char="‒"/>
        <a:defRPr sz="1600" kern="1200">
          <a:solidFill>
            <a:schemeClr val="tx1"/>
          </a:solidFill>
          <a:latin typeface="+mn-lt"/>
          <a:ea typeface="+mn-ea"/>
          <a:cs typeface="+mn-cs"/>
        </a:defRPr>
      </a:lvl3pPr>
      <a:lvl4pPr marL="1112400" indent="-248400" algn="l" defTabSz="914400" rtl="0" eaLnBrk="1" latinLnBrk="0" hangingPunct="1">
        <a:lnSpc>
          <a:spcPct val="110000"/>
        </a:lnSpc>
        <a:spcBef>
          <a:spcPts val="0"/>
        </a:spcBef>
        <a:buFont typeface="Verdana" panose="020B060403050404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23.xml"/><Relationship Id="rId6" Type="http://schemas.openxmlformats.org/officeDocument/2006/relationships/image" Target="../media/image33.svg"/><Relationship Id="rId5" Type="http://schemas.openxmlformats.org/officeDocument/2006/relationships/image" Target="../media/image32.png"/><Relationship Id="rId4" Type="http://schemas.openxmlformats.org/officeDocument/2006/relationships/hyperlink" Target="https://mitrodekors.dk/system/files/document_files/%C3%98konomivejledning%2026.08.2024.pdf" TargetMode="External"/></Relationships>
</file>

<file path=ppt/slides/_rels/slide11.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3.svg"/><Relationship Id="rId3" Type="http://schemas.openxmlformats.org/officeDocument/2006/relationships/notesSlide" Target="../notesSlides/notesSlide10.xml"/><Relationship Id="rId7" Type="http://schemas.openxmlformats.org/officeDocument/2006/relationships/image" Target="../media/image37.svg"/><Relationship Id="rId12" Type="http://schemas.openxmlformats.org/officeDocument/2006/relationships/image" Target="../media/image42.png"/><Relationship Id="rId2" Type="http://schemas.openxmlformats.org/officeDocument/2006/relationships/slideLayout" Target="../slideLayouts/slideLayout20.xml"/><Relationship Id="rId1" Type="http://schemas.openxmlformats.org/officeDocument/2006/relationships/tags" Target="../tags/tag24.xml"/><Relationship Id="rId6" Type="http://schemas.openxmlformats.org/officeDocument/2006/relationships/image" Target="../media/image36.png"/><Relationship Id="rId11" Type="http://schemas.openxmlformats.org/officeDocument/2006/relationships/image" Target="../media/image41.svg"/><Relationship Id="rId5" Type="http://schemas.openxmlformats.org/officeDocument/2006/relationships/image" Target="../media/image35.svg"/><Relationship Id="rId10" Type="http://schemas.openxmlformats.org/officeDocument/2006/relationships/image" Target="../media/image40.png"/><Relationship Id="rId4" Type="http://schemas.openxmlformats.org/officeDocument/2006/relationships/image" Target="../media/image34.png"/><Relationship Id="rId9" Type="http://schemas.openxmlformats.org/officeDocument/2006/relationships/image" Target="../media/image39.svg"/></Relationships>
</file>

<file path=ppt/slides/_rels/slide1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39.svg"/><Relationship Id="rId3" Type="http://schemas.openxmlformats.org/officeDocument/2006/relationships/image" Target="../media/image34.png"/><Relationship Id="rId7" Type="http://schemas.openxmlformats.org/officeDocument/2006/relationships/image" Target="../media/image38.png"/><Relationship Id="rId12" Type="http://schemas.openxmlformats.org/officeDocument/2006/relationships/image" Target="../media/image43.sv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37.svg"/><Relationship Id="rId11" Type="http://schemas.openxmlformats.org/officeDocument/2006/relationships/image" Target="../media/image42.png"/><Relationship Id="rId5" Type="http://schemas.openxmlformats.org/officeDocument/2006/relationships/image" Target="../media/image36.png"/><Relationship Id="rId10" Type="http://schemas.openxmlformats.org/officeDocument/2006/relationships/image" Target="../media/image41.svg"/><Relationship Id="rId4" Type="http://schemas.openxmlformats.org/officeDocument/2006/relationships/image" Target="../media/image35.svg"/><Relationship Id="rId9" Type="http://schemas.openxmlformats.org/officeDocument/2006/relationships/image" Target="../media/image40.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45.emf"/><Relationship Id="rId5" Type="http://schemas.openxmlformats.org/officeDocument/2006/relationships/oleObject" Target="../embeddings/oleObject5.bin"/><Relationship Id="rId4" Type="http://schemas.openxmlformats.org/officeDocument/2006/relationships/notesSlide" Target="../notesSlides/notesSlide13.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46.emf"/><Relationship Id="rId5" Type="http://schemas.openxmlformats.org/officeDocument/2006/relationships/oleObject" Target="../embeddings/oleObject6.bin"/><Relationship Id="rId4" Type="http://schemas.openxmlformats.org/officeDocument/2006/relationships/notesSlide" Target="../notesSlides/notesSlide14.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47.emf"/><Relationship Id="rId5" Type="http://schemas.openxmlformats.org/officeDocument/2006/relationships/oleObject" Target="../embeddings/oleObject7.bin"/><Relationship Id="rId4" Type="http://schemas.openxmlformats.org/officeDocument/2006/relationships/notesSlide" Target="../notesSlides/notesSlide1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48.emf"/><Relationship Id="rId5" Type="http://schemas.openxmlformats.org/officeDocument/2006/relationships/oleObject" Target="../embeddings/oleObject8.bin"/><Relationship Id="rId4" Type="http://schemas.openxmlformats.org/officeDocument/2006/relationships/notesSlide" Target="../notesSlides/notesSlide1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slideLayout" Target="../slideLayouts/slideLayout2.xml"/><Relationship Id="rId7" Type="http://schemas.openxmlformats.org/officeDocument/2006/relationships/image" Target="../media/image51.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50.svg"/><Relationship Id="rId5" Type="http://schemas.openxmlformats.org/officeDocument/2006/relationships/image" Target="../media/image49.png"/><Relationship Id="rId4" Type="http://schemas.openxmlformats.org/officeDocument/2006/relationships/notesSlide" Target="../notesSlides/notesSlide19.xml"/></Relationships>
</file>

<file path=ppt/slides/_rels/slide21.xml.rels><?xml version="1.0" encoding="UTF-8" standalone="yes"?>
<Relationships xmlns="http://schemas.openxmlformats.org/package/2006/relationships"><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notesSlide" Target="../notesSlides/notesSlide20.xml"/><Relationship Id="rId1" Type="http://schemas.openxmlformats.org/officeDocument/2006/relationships/slideLayout" Target="../slideLayouts/slideLayout17.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28.xml"/><Relationship Id="rId1" Type="http://schemas.openxmlformats.org/officeDocument/2006/relationships/slideLayout" Target="../slideLayouts/slideLayout4.xml"/><Relationship Id="rId5" Type="http://schemas.openxmlformats.org/officeDocument/2006/relationships/image" Target="../media/image63.png"/><Relationship Id="rId4" Type="http://schemas.openxmlformats.org/officeDocument/2006/relationships/image" Target="../media/image62.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tags" Target="../tags/tag37.xml"/><Relationship Id="rId7" Type="http://schemas.openxmlformats.org/officeDocument/2006/relationships/image" Target="../media/image65.png"/><Relationship Id="rId12" Type="http://schemas.openxmlformats.org/officeDocument/2006/relationships/image" Target="../media/image70.sv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58.png"/><Relationship Id="rId11" Type="http://schemas.openxmlformats.org/officeDocument/2006/relationships/image" Target="../media/image69.png"/><Relationship Id="rId5" Type="http://schemas.openxmlformats.org/officeDocument/2006/relationships/notesSlide" Target="../notesSlides/notesSlide30.xml"/><Relationship Id="rId10" Type="http://schemas.openxmlformats.org/officeDocument/2006/relationships/image" Target="../media/image68.svg"/><Relationship Id="rId4" Type="http://schemas.openxmlformats.org/officeDocument/2006/relationships/slideLayout" Target="../slideLayouts/slideLayout4.xml"/><Relationship Id="rId9" Type="http://schemas.openxmlformats.org/officeDocument/2006/relationships/image" Target="../media/image67.png"/></Relationships>
</file>

<file path=ppt/slides/_rels/slide3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5.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1.svg"/><Relationship Id="rId3" Type="http://schemas.openxmlformats.org/officeDocument/2006/relationships/tags" Target="../tags/tag7.xml"/><Relationship Id="rId7" Type="http://schemas.openxmlformats.org/officeDocument/2006/relationships/image" Target="../media/image7.jpeg"/><Relationship Id="rId12" Type="http://schemas.openxmlformats.org/officeDocument/2006/relationships/image" Target="../media/image10.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6.png"/><Relationship Id="rId11" Type="http://schemas.openxmlformats.org/officeDocument/2006/relationships/hyperlink" Target="mailto:afdregnskab@rodekors.dk" TargetMode="External"/><Relationship Id="rId5" Type="http://schemas.openxmlformats.org/officeDocument/2006/relationships/notesSlide" Target="../notesSlides/notesSlide3.xml"/><Relationship Id="rId15" Type="http://schemas.openxmlformats.org/officeDocument/2006/relationships/image" Target="../media/image13.svg"/><Relationship Id="rId10" Type="http://schemas.openxmlformats.org/officeDocument/2006/relationships/image" Target="../media/image9.emf"/><Relationship Id="rId4" Type="http://schemas.openxmlformats.org/officeDocument/2006/relationships/slideLayout" Target="../slideLayouts/slideLayout20.xml"/><Relationship Id="rId9" Type="http://schemas.openxmlformats.org/officeDocument/2006/relationships/oleObject" Target="../embeddings/oleObject3.bin"/><Relationship Id="rId14" Type="http://schemas.openxmlformats.org/officeDocument/2006/relationships/image" Target="../media/image12.png"/></Relationships>
</file>

<file path=ppt/slides/_rels/slide4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9.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40.xml"/><Relationship Id="rId1" Type="http://schemas.openxmlformats.org/officeDocument/2006/relationships/slideLayout" Target="../slideLayouts/slideLayout2.xml"/><Relationship Id="rId4" Type="http://schemas.openxmlformats.org/officeDocument/2006/relationships/image" Target="../media/image73.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1.svg"/><Relationship Id="rId3" Type="http://schemas.openxmlformats.org/officeDocument/2006/relationships/tags" Target="../tags/tag40.xml"/><Relationship Id="rId7" Type="http://schemas.openxmlformats.org/officeDocument/2006/relationships/image" Target="../media/image7.jpeg"/><Relationship Id="rId12" Type="http://schemas.openxmlformats.org/officeDocument/2006/relationships/image" Target="../media/image10.png"/><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6.png"/><Relationship Id="rId11" Type="http://schemas.openxmlformats.org/officeDocument/2006/relationships/hyperlink" Target="mailto:afdregnskab@rodekors.dk" TargetMode="External"/><Relationship Id="rId5" Type="http://schemas.openxmlformats.org/officeDocument/2006/relationships/notesSlide" Target="../notesSlides/notesSlide42.xml"/><Relationship Id="rId15" Type="http://schemas.openxmlformats.org/officeDocument/2006/relationships/image" Target="../media/image13.svg"/><Relationship Id="rId10" Type="http://schemas.openxmlformats.org/officeDocument/2006/relationships/image" Target="../media/image9.emf"/><Relationship Id="rId4" Type="http://schemas.openxmlformats.org/officeDocument/2006/relationships/slideLayout" Target="../slideLayouts/slideLayout20.xml"/><Relationship Id="rId9" Type="http://schemas.openxmlformats.org/officeDocument/2006/relationships/oleObject" Target="../embeddings/oleObject3.bin"/><Relationship Id="rId14" Type="http://schemas.openxmlformats.org/officeDocument/2006/relationships/image" Target="../media/image12.png"/></Relationships>
</file>

<file path=ppt/slides/_rels/slide5.xml.rels><?xml version="1.0" encoding="UTF-8" standalone="yes"?>
<Relationships xmlns="http://schemas.openxmlformats.org/package/2006/relationships"><Relationship Id="rId8" Type="http://schemas.openxmlformats.org/officeDocument/2006/relationships/hyperlink" Target="mailto:afdregnskab@rodekors.dk" TargetMode="External"/><Relationship Id="rId3" Type="http://schemas.openxmlformats.org/officeDocument/2006/relationships/tags" Target="../tags/tag10.xml"/><Relationship Id="rId7" Type="http://schemas.openxmlformats.org/officeDocument/2006/relationships/image" Target="../media/image9.emf"/><Relationship Id="rId12" Type="http://schemas.openxmlformats.org/officeDocument/2006/relationships/image" Target="../media/image13.sv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oleObject" Target="../embeddings/oleObject3.bin"/><Relationship Id="rId11" Type="http://schemas.openxmlformats.org/officeDocument/2006/relationships/image" Target="../media/image12.png"/><Relationship Id="rId5" Type="http://schemas.openxmlformats.org/officeDocument/2006/relationships/notesSlide" Target="../notesSlides/notesSlide4.xml"/><Relationship Id="rId10" Type="http://schemas.openxmlformats.org/officeDocument/2006/relationships/image" Target="../media/image11.svg"/><Relationship Id="rId4" Type="http://schemas.openxmlformats.org/officeDocument/2006/relationships/slideLayout" Target="../slideLayouts/slideLayout20.xml"/><Relationship Id="rId9" Type="http://schemas.openxmlformats.org/officeDocument/2006/relationships/image" Target="../media/image10.png"/></Relationships>
</file>

<file path=ppt/slides/_rels/slide6.xml.rels><?xml version="1.0" encoding="UTF-8" standalone="yes"?>
<Relationships xmlns="http://schemas.openxmlformats.org/package/2006/relationships"><Relationship Id="rId8" Type="http://schemas.openxmlformats.org/officeDocument/2006/relationships/hyperlink" Target="mailto:afdregnskab@rodekors.dk" TargetMode="External"/><Relationship Id="rId3" Type="http://schemas.openxmlformats.org/officeDocument/2006/relationships/tags" Target="../tags/tag13.xml"/><Relationship Id="rId7" Type="http://schemas.openxmlformats.org/officeDocument/2006/relationships/image" Target="../media/image9.emf"/><Relationship Id="rId12" Type="http://schemas.openxmlformats.org/officeDocument/2006/relationships/image" Target="../media/image13.sv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3.bin"/><Relationship Id="rId11" Type="http://schemas.openxmlformats.org/officeDocument/2006/relationships/image" Target="../media/image12.png"/><Relationship Id="rId5" Type="http://schemas.openxmlformats.org/officeDocument/2006/relationships/notesSlide" Target="../notesSlides/notesSlide5.xml"/><Relationship Id="rId10" Type="http://schemas.openxmlformats.org/officeDocument/2006/relationships/image" Target="../media/image11.svg"/><Relationship Id="rId4" Type="http://schemas.openxmlformats.org/officeDocument/2006/relationships/slideLayout" Target="../slideLayouts/slideLayout20.xml"/><Relationship Id="rId9" Type="http://schemas.openxmlformats.org/officeDocument/2006/relationships/image" Target="../media/image10.png"/></Relationships>
</file>

<file path=ppt/slides/_rels/slide7.xml.rels><?xml version="1.0" encoding="UTF-8" standalone="yes"?>
<Relationships xmlns="http://schemas.openxmlformats.org/package/2006/relationships"><Relationship Id="rId8" Type="http://schemas.openxmlformats.org/officeDocument/2006/relationships/oleObject" Target="../embeddings/oleObject4.bin"/><Relationship Id="rId13" Type="http://schemas.openxmlformats.org/officeDocument/2006/relationships/image" Target="../media/image18.svg"/><Relationship Id="rId3" Type="http://schemas.openxmlformats.org/officeDocument/2006/relationships/tags" Target="../tags/tag16.xml"/><Relationship Id="rId7" Type="http://schemas.openxmlformats.org/officeDocument/2006/relationships/notesSlide" Target="../notesSlides/notesSlide6.xml"/><Relationship Id="rId12" Type="http://schemas.openxmlformats.org/officeDocument/2006/relationships/image" Target="../media/image17.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slideLayout" Target="../slideLayouts/slideLayout18.xml"/><Relationship Id="rId11" Type="http://schemas.openxmlformats.org/officeDocument/2006/relationships/image" Target="../media/image16.svg"/><Relationship Id="rId5" Type="http://schemas.openxmlformats.org/officeDocument/2006/relationships/tags" Target="../tags/tag18.xml"/><Relationship Id="rId15" Type="http://schemas.openxmlformats.org/officeDocument/2006/relationships/image" Target="../media/image20.svg"/><Relationship Id="rId10" Type="http://schemas.openxmlformats.org/officeDocument/2006/relationships/image" Target="../media/image15.png"/><Relationship Id="rId4" Type="http://schemas.openxmlformats.org/officeDocument/2006/relationships/tags" Target="../tags/tag17.xml"/><Relationship Id="rId9" Type="http://schemas.openxmlformats.org/officeDocument/2006/relationships/image" Target="../media/image14.emf"/><Relationship Id="rId14" Type="http://schemas.openxmlformats.org/officeDocument/2006/relationships/image" Target="../media/image19.png"/></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22.svg"/></Relationships>
</file>

<file path=ppt/slides/_rels/slide9.xml.rels><?xml version="1.0" encoding="UTF-8" standalone="yes"?>
<Relationships xmlns="http://schemas.openxmlformats.org/package/2006/relationships"><Relationship Id="rId8" Type="http://schemas.openxmlformats.org/officeDocument/2006/relationships/hyperlink" Target="https://mitrodekors.dk/system/files/document_files/%C3%98konomivejledning%2013.12.2023.pdf" TargetMode="External"/><Relationship Id="rId13" Type="http://schemas.openxmlformats.org/officeDocument/2006/relationships/image" Target="../media/image27.png"/><Relationship Id="rId3" Type="http://schemas.openxmlformats.org/officeDocument/2006/relationships/tags" Target="../tags/tag21.xml"/><Relationship Id="rId7" Type="http://schemas.openxmlformats.org/officeDocument/2006/relationships/hyperlink" Target="https://mitrodekors.dk/system/files/document_files/%C3%98konomivejledning%2026.08.2024.pdf" TargetMode="External"/><Relationship Id="rId12" Type="http://schemas.openxmlformats.org/officeDocument/2006/relationships/image" Target="../media/image26.svg"/><Relationship Id="rId17" Type="http://schemas.openxmlformats.org/officeDocument/2006/relationships/image" Target="../media/image31.png"/><Relationship Id="rId2" Type="http://schemas.openxmlformats.org/officeDocument/2006/relationships/tags" Target="../tags/tag20.xml"/><Relationship Id="rId16" Type="http://schemas.openxmlformats.org/officeDocument/2006/relationships/image" Target="../media/image30.svg"/><Relationship Id="rId1" Type="http://schemas.openxmlformats.org/officeDocument/2006/relationships/tags" Target="../tags/tag19.xml"/><Relationship Id="rId6" Type="http://schemas.openxmlformats.org/officeDocument/2006/relationships/notesSlide" Target="../notesSlides/notesSlide8.xml"/><Relationship Id="rId11" Type="http://schemas.openxmlformats.org/officeDocument/2006/relationships/image" Target="../media/image25.png"/><Relationship Id="rId5" Type="http://schemas.openxmlformats.org/officeDocument/2006/relationships/slideLayout" Target="../slideLayouts/slideLayout4.xml"/><Relationship Id="rId15" Type="http://schemas.openxmlformats.org/officeDocument/2006/relationships/image" Target="../media/image29.png"/><Relationship Id="rId10" Type="http://schemas.openxmlformats.org/officeDocument/2006/relationships/image" Target="../media/image24.svg"/><Relationship Id="rId4" Type="http://schemas.openxmlformats.org/officeDocument/2006/relationships/tags" Target="../tags/tag22.xml"/><Relationship Id="rId9" Type="http://schemas.openxmlformats.org/officeDocument/2006/relationships/image" Target="../media/image23.png"/><Relationship Id="rId14" Type="http://schemas.openxmlformats.org/officeDocument/2006/relationships/image" Target="../media/image28.svg"/></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1080C8C-C163-9A05-6A5C-784389761377}"/>
              </a:ext>
            </a:extLst>
          </p:cNvPr>
          <p:cNvSpPr>
            <a:spLocks noGrp="1"/>
          </p:cNvSpPr>
          <p:nvPr>
            <p:ph type="title"/>
          </p:nvPr>
        </p:nvSpPr>
        <p:spPr/>
        <p:txBody>
          <a:bodyPr/>
          <a:lstStyle/>
          <a:p>
            <a:r>
              <a:rPr lang="en-US" err="1"/>
              <a:t>Klargøring</a:t>
            </a:r>
            <a:r>
              <a:rPr lang="en-US"/>
              <a:t> </a:t>
            </a:r>
            <a:r>
              <a:rPr lang="en-US" err="1"/>
              <a:t>til</a:t>
            </a:r>
            <a:r>
              <a:rPr lang="en-US"/>
              <a:t> </a:t>
            </a:r>
            <a:r>
              <a:rPr lang="en-US" err="1"/>
              <a:t>kursusafholdelse</a:t>
            </a:r>
            <a:br>
              <a:rPr lang="en-US"/>
            </a:br>
            <a:r>
              <a:rPr lang="en-US"/>
              <a:t>(</a:t>
            </a:r>
            <a:r>
              <a:rPr lang="en-US" err="1"/>
              <a:t>internt</a:t>
            </a:r>
            <a:r>
              <a:rPr lang="en-US"/>
              <a:t> slide)</a:t>
            </a:r>
            <a:endParaRPr lang="da-DK"/>
          </a:p>
        </p:txBody>
      </p:sp>
      <p:sp>
        <p:nvSpPr>
          <p:cNvPr id="5" name="Content Placeholder 4">
            <a:extLst>
              <a:ext uri="{FF2B5EF4-FFF2-40B4-BE49-F238E27FC236}">
                <a16:creationId xmlns:a16="http://schemas.microsoft.com/office/drawing/2014/main" id="{977F05D0-79A8-70B1-3F69-789A9CE532E6}"/>
              </a:ext>
            </a:extLst>
          </p:cNvPr>
          <p:cNvSpPr>
            <a:spLocks noGrp="1"/>
          </p:cNvSpPr>
          <p:nvPr>
            <p:ph idx="1"/>
          </p:nvPr>
        </p:nvSpPr>
        <p:spPr/>
        <p:txBody>
          <a:bodyPr vert="horz" lIns="0" tIns="0" rIns="0" bIns="0" rtlCol="0" anchor="t">
            <a:normAutofit/>
          </a:bodyPr>
          <a:lstStyle/>
          <a:p>
            <a:r>
              <a:rPr lang="en-US" dirty="0"/>
              <a:t>Der er </a:t>
            </a:r>
            <a:r>
              <a:rPr lang="en-US" dirty="0" err="1"/>
              <a:t>booket</a:t>
            </a:r>
            <a:r>
              <a:rPr lang="en-US" dirty="0"/>
              <a:t> </a:t>
            </a:r>
            <a:r>
              <a:rPr lang="en-US" dirty="0" err="1"/>
              <a:t>lokale</a:t>
            </a:r>
            <a:r>
              <a:rPr lang="en-US" dirty="0"/>
              <a:t> </a:t>
            </a:r>
            <a:r>
              <a:rPr lang="en-US" dirty="0" err="1"/>
              <a:t>til</a:t>
            </a:r>
            <a:r>
              <a:rPr lang="en-US" dirty="0"/>
              <a:t> </a:t>
            </a:r>
            <a:r>
              <a:rPr lang="en-US" dirty="0" err="1"/>
              <a:t>fysiske</a:t>
            </a:r>
            <a:r>
              <a:rPr lang="en-US" dirty="0"/>
              <a:t> </a:t>
            </a:r>
            <a:r>
              <a:rPr lang="en-US" dirty="0" err="1"/>
              <a:t>kurser</a:t>
            </a:r>
            <a:endParaRPr lang="en-US" dirty="0"/>
          </a:p>
          <a:p>
            <a:r>
              <a:rPr lang="en-US" dirty="0" err="1"/>
              <a:t>Kursusdeltagere</a:t>
            </a:r>
            <a:r>
              <a:rPr lang="en-US" dirty="0"/>
              <a:t> </a:t>
            </a:r>
            <a:r>
              <a:rPr lang="en-US" dirty="0" err="1"/>
              <a:t>har</a:t>
            </a:r>
            <a:r>
              <a:rPr lang="en-US" dirty="0"/>
              <a:t> </a:t>
            </a:r>
            <a:r>
              <a:rPr lang="en-US" dirty="0" err="1"/>
              <a:t>fået</a:t>
            </a:r>
            <a:r>
              <a:rPr lang="en-US" dirty="0"/>
              <a:t> invitation med </a:t>
            </a:r>
            <a:r>
              <a:rPr lang="en-US" dirty="0" err="1"/>
              <a:t>tid</a:t>
            </a:r>
            <a:r>
              <a:rPr lang="en-US" dirty="0"/>
              <a:t> og </a:t>
            </a:r>
            <a:r>
              <a:rPr lang="en-US" dirty="0" err="1"/>
              <a:t>sted</a:t>
            </a:r>
            <a:endParaRPr lang="en-US" dirty="0"/>
          </a:p>
          <a:p>
            <a:r>
              <a:rPr lang="en-US" dirty="0" err="1"/>
              <a:t>Opfordring</a:t>
            </a:r>
            <a:r>
              <a:rPr lang="en-US" dirty="0"/>
              <a:t> </a:t>
            </a:r>
            <a:r>
              <a:rPr lang="en-US" dirty="0" err="1"/>
              <a:t>til</a:t>
            </a:r>
            <a:r>
              <a:rPr lang="en-US" dirty="0"/>
              <a:t> at </a:t>
            </a:r>
            <a:r>
              <a:rPr lang="en-US" dirty="0" err="1"/>
              <a:t>få</a:t>
            </a:r>
            <a:r>
              <a:rPr lang="en-US" dirty="0"/>
              <a:t> </a:t>
            </a:r>
            <a:r>
              <a:rPr lang="en-US" dirty="0" err="1"/>
              <a:t>etableret</a:t>
            </a:r>
            <a:r>
              <a:rPr lang="en-US" dirty="0"/>
              <a:t> </a:t>
            </a:r>
            <a:r>
              <a:rPr lang="en-US" dirty="0" err="1"/>
              <a:t>adgang</a:t>
            </a:r>
            <a:r>
              <a:rPr lang="en-US" dirty="0"/>
              <a:t> </a:t>
            </a:r>
            <a:r>
              <a:rPr lang="en-US" dirty="0" err="1"/>
              <a:t>til</a:t>
            </a:r>
            <a:endParaRPr lang="en-US" dirty="0"/>
          </a:p>
          <a:p>
            <a:pPr lvl="1"/>
            <a:r>
              <a:rPr lang="en-US" dirty="0"/>
              <a:t>Bank</a:t>
            </a:r>
            <a:endParaRPr lang="en-US" i="1" dirty="0"/>
          </a:p>
          <a:p>
            <a:pPr lvl="1"/>
            <a:r>
              <a:rPr lang="en-US" i="1" dirty="0"/>
              <a:t>Nets</a:t>
            </a:r>
          </a:p>
          <a:p>
            <a:pPr marL="586740" lvl="1" indent="-334645"/>
            <a:r>
              <a:rPr lang="en-US" dirty="0" err="1"/>
              <a:t>MobilePay</a:t>
            </a:r>
            <a:endParaRPr lang="en-US" dirty="0">
              <a:ea typeface="Verdana"/>
            </a:endParaRPr>
          </a:p>
          <a:p>
            <a:pPr marL="586740" lvl="1" indent="-334645"/>
            <a:r>
              <a:rPr lang="en-US" dirty="0" err="1">
                <a:ea typeface="Verdana"/>
              </a:rPr>
              <a:t>FlexPOS</a:t>
            </a:r>
            <a:endParaRPr lang="en-US" dirty="0"/>
          </a:p>
          <a:p>
            <a:r>
              <a:rPr lang="en-US" dirty="0"/>
              <a:t>Information om at </a:t>
            </a:r>
            <a:r>
              <a:rPr lang="en-US" dirty="0" err="1"/>
              <a:t>medbringe</a:t>
            </a:r>
            <a:endParaRPr lang="en-US" dirty="0"/>
          </a:p>
          <a:p>
            <a:pPr lvl="1"/>
            <a:r>
              <a:rPr lang="en-US" dirty="0" err="1"/>
              <a:t>Egen</a:t>
            </a:r>
            <a:r>
              <a:rPr lang="en-US" dirty="0"/>
              <a:t> pc</a:t>
            </a:r>
          </a:p>
          <a:p>
            <a:pPr lvl="1"/>
            <a:r>
              <a:rPr lang="en-US" dirty="0" err="1"/>
              <a:t>Egne</a:t>
            </a:r>
            <a:r>
              <a:rPr lang="en-US" dirty="0"/>
              <a:t> </a:t>
            </a:r>
            <a:r>
              <a:rPr lang="en-US" dirty="0" err="1"/>
              <a:t>bilag</a:t>
            </a:r>
            <a:r>
              <a:rPr lang="en-US" dirty="0"/>
              <a:t> </a:t>
            </a:r>
            <a:r>
              <a:rPr lang="en-US" dirty="0" err="1"/>
              <a:t>fra</a:t>
            </a:r>
            <a:r>
              <a:rPr lang="en-US" dirty="0"/>
              <a:t> </a:t>
            </a:r>
            <a:r>
              <a:rPr lang="en-US" dirty="0" err="1"/>
              <a:t>aktuelt</a:t>
            </a:r>
            <a:r>
              <a:rPr lang="en-US" dirty="0"/>
              <a:t> </a:t>
            </a:r>
            <a:r>
              <a:rPr lang="en-US" dirty="0" err="1"/>
              <a:t>år</a:t>
            </a:r>
            <a:endParaRPr lang="en-US" dirty="0"/>
          </a:p>
          <a:p>
            <a:r>
              <a:rPr lang="en-US" dirty="0" err="1"/>
              <a:t>Kursusdeltagere</a:t>
            </a:r>
            <a:r>
              <a:rPr lang="en-US" dirty="0"/>
              <a:t> </a:t>
            </a:r>
            <a:r>
              <a:rPr lang="en-US" dirty="0" err="1"/>
              <a:t>skal</a:t>
            </a:r>
            <a:r>
              <a:rPr lang="en-US" dirty="0"/>
              <a:t> </a:t>
            </a:r>
            <a:r>
              <a:rPr lang="en-US" dirty="0" err="1"/>
              <a:t>være</a:t>
            </a:r>
            <a:r>
              <a:rPr lang="en-US" dirty="0"/>
              <a:t> </a:t>
            </a:r>
            <a:r>
              <a:rPr lang="en-US" dirty="0" err="1"/>
              <a:t>oprettet</a:t>
            </a:r>
            <a:r>
              <a:rPr lang="en-US" dirty="0"/>
              <a:t> </a:t>
            </a:r>
            <a:r>
              <a:rPr lang="en-US" dirty="0" err="1"/>
              <a:t>som</a:t>
            </a:r>
            <a:r>
              <a:rPr lang="en-US" dirty="0"/>
              <a:t> </a:t>
            </a:r>
            <a:r>
              <a:rPr lang="en-US" dirty="0" err="1"/>
              <a:t>brugere</a:t>
            </a:r>
            <a:r>
              <a:rPr lang="en-US" dirty="0"/>
              <a:t> </a:t>
            </a:r>
            <a:r>
              <a:rPr lang="en-US" dirty="0" err="1"/>
              <a:t>på</a:t>
            </a:r>
            <a:r>
              <a:rPr lang="en-US" dirty="0"/>
              <a:t> </a:t>
            </a:r>
            <a:r>
              <a:rPr lang="en-US" dirty="0" err="1"/>
              <a:t>deres</a:t>
            </a:r>
            <a:r>
              <a:rPr lang="en-US" dirty="0"/>
              <a:t> </a:t>
            </a:r>
            <a:r>
              <a:rPr lang="en-US" dirty="0" err="1"/>
              <a:t>afdeling</a:t>
            </a:r>
            <a:r>
              <a:rPr lang="en-US" dirty="0"/>
              <a:t> med den </a:t>
            </a:r>
            <a:r>
              <a:rPr lang="en-US" dirty="0" err="1"/>
              <a:t>rette</a:t>
            </a:r>
            <a:r>
              <a:rPr lang="en-US" dirty="0"/>
              <a:t> </a:t>
            </a:r>
            <a:r>
              <a:rPr lang="en-US" dirty="0" err="1"/>
              <a:t>rolle</a:t>
            </a:r>
            <a:endParaRPr lang="en-US" dirty="0"/>
          </a:p>
          <a:p>
            <a:pPr marL="283845" indent="-283845"/>
            <a:r>
              <a:rPr lang="en-US" dirty="0"/>
              <a:t>Der </a:t>
            </a:r>
            <a:r>
              <a:rPr lang="en-US" dirty="0" err="1"/>
              <a:t>medbringes</a:t>
            </a:r>
            <a:r>
              <a:rPr lang="en-US" dirty="0"/>
              <a:t> </a:t>
            </a:r>
            <a:r>
              <a:rPr lang="en-US" dirty="0" err="1"/>
              <a:t>ekstra</a:t>
            </a:r>
            <a:r>
              <a:rPr lang="en-US" dirty="0"/>
              <a:t> </a:t>
            </a:r>
            <a:r>
              <a:rPr lang="en-US" dirty="0" err="1"/>
              <a:t>pc’er</a:t>
            </a:r>
            <a:r>
              <a:rPr lang="en-US" dirty="0"/>
              <a:t> for </a:t>
            </a:r>
            <a:r>
              <a:rPr lang="en-US" dirty="0" err="1"/>
              <a:t>en</a:t>
            </a:r>
            <a:r>
              <a:rPr lang="en-US" dirty="0"/>
              <a:t> </a:t>
            </a:r>
            <a:r>
              <a:rPr lang="en-US" dirty="0" err="1"/>
              <a:t>sikkerheds</a:t>
            </a:r>
            <a:r>
              <a:rPr lang="en-US" dirty="0"/>
              <a:t> </a:t>
            </a:r>
            <a:r>
              <a:rPr lang="en-US" dirty="0" err="1"/>
              <a:t>skyld</a:t>
            </a:r>
            <a:r>
              <a:rPr lang="en-US" dirty="0"/>
              <a:t> (</a:t>
            </a:r>
            <a:r>
              <a:rPr lang="en-US" dirty="0" err="1"/>
              <a:t>fra</a:t>
            </a:r>
            <a:r>
              <a:rPr lang="en-US" dirty="0"/>
              <a:t> IT)</a:t>
            </a:r>
            <a:endParaRPr lang="en-US" dirty="0">
              <a:ea typeface="Verdana"/>
            </a:endParaRPr>
          </a:p>
          <a:p>
            <a:endParaRPr lang="en-US" dirty="0"/>
          </a:p>
          <a:p>
            <a:endParaRPr lang="da-DK" dirty="0"/>
          </a:p>
        </p:txBody>
      </p:sp>
      <p:sp>
        <p:nvSpPr>
          <p:cNvPr id="6" name="Pladsholder til sidefod 5">
            <a:extLst>
              <a:ext uri="{FF2B5EF4-FFF2-40B4-BE49-F238E27FC236}">
                <a16:creationId xmlns:a16="http://schemas.microsoft.com/office/drawing/2014/main" id="{834292C9-6C34-CF24-06EE-975C27CF428D}"/>
              </a:ext>
            </a:extLst>
          </p:cNvPr>
          <p:cNvSpPr>
            <a:spLocks noGrp="1"/>
          </p:cNvSpPr>
          <p:nvPr>
            <p:ph type="ftr" sz="quarter" idx="11"/>
          </p:nvPr>
        </p:nvSpPr>
        <p:spPr/>
        <p:txBody>
          <a:bodyPr/>
          <a:lstStyle/>
          <a:p>
            <a:r>
              <a:rPr lang="da-DK" dirty="0"/>
              <a:t>RØDE KORS / Introduktionskursus for nye kasserere / 2025 </a:t>
            </a:r>
          </a:p>
        </p:txBody>
      </p:sp>
      <p:sp>
        <p:nvSpPr>
          <p:cNvPr id="3" name="Pladsholder til slidenummer 2">
            <a:extLst>
              <a:ext uri="{FF2B5EF4-FFF2-40B4-BE49-F238E27FC236}">
                <a16:creationId xmlns:a16="http://schemas.microsoft.com/office/drawing/2014/main" id="{91AB462A-B7BD-C917-E445-26D861634BF7}"/>
              </a:ext>
            </a:extLst>
          </p:cNvPr>
          <p:cNvSpPr>
            <a:spLocks noGrp="1"/>
          </p:cNvSpPr>
          <p:nvPr>
            <p:ph type="sldNum" sz="quarter" idx="4294967295"/>
          </p:nvPr>
        </p:nvSpPr>
        <p:spPr>
          <a:xfrm>
            <a:off x="10369550" y="6413500"/>
            <a:ext cx="984250" cy="237600"/>
          </a:xfrm>
          <a:prstGeom prst="rect">
            <a:avLst/>
          </a:prstGeom>
        </p:spPr>
        <p:txBody>
          <a:bodyPr/>
          <a:lstStyle/>
          <a:p>
            <a:fld id="{EBB150E2-5CD4-4507-BF34-7B9F9A3DCDCE}" type="slidenum">
              <a:rPr lang="da-DK" smtClean="0"/>
              <a:t>1</a:t>
            </a:fld>
            <a:endParaRPr lang="da-DK"/>
          </a:p>
        </p:txBody>
      </p:sp>
    </p:spTree>
    <p:extLst>
      <p:ext uri="{BB962C8B-B14F-4D97-AF65-F5344CB8AC3E}">
        <p14:creationId xmlns:p14="http://schemas.microsoft.com/office/powerpoint/2010/main" val="16650209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12C1998F-CBFD-1526-027A-51FF87ECD32F}"/>
              </a:ext>
            </a:extLst>
          </p:cNvPr>
          <p:cNvSpPr/>
          <p:nvPr/>
        </p:nvSpPr>
        <p:spPr>
          <a:xfrm>
            <a:off x="1028700" y="2203761"/>
            <a:ext cx="10325098" cy="2970220"/>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7" name="Ellipse 6">
            <a:extLst>
              <a:ext uri="{FF2B5EF4-FFF2-40B4-BE49-F238E27FC236}">
                <a16:creationId xmlns:a16="http://schemas.microsoft.com/office/drawing/2014/main" id="{B847C44C-1360-5ECC-12BB-D255BCDB38CA}"/>
              </a:ext>
            </a:extLst>
          </p:cNvPr>
          <p:cNvSpPr/>
          <p:nvPr/>
        </p:nvSpPr>
        <p:spPr>
          <a:xfrm>
            <a:off x="411478" y="3009900"/>
            <a:ext cx="1150620" cy="1150620"/>
          </a:xfrm>
          <a:prstGeom prst="ellipse">
            <a:avLst/>
          </a:prstGeom>
          <a:solidFill>
            <a:schemeClr val="accent1">
              <a:lumMod val="75000"/>
            </a:schemeClr>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 name="Title 1"/>
          <p:cNvSpPr>
            <a:spLocks noGrp="1"/>
          </p:cNvSpPr>
          <p:nvPr>
            <p:ph type="title"/>
          </p:nvPr>
        </p:nvSpPr>
        <p:spPr/>
        <p:txBody>
          <a:bodyPr>
            <a:normAutofit/>
          </a:bodyPr>
          <a:lstStyle/>
          <a:p>
            <a:r>
              <a:rPr lang="da-DK" sz="4000"/>
              <a:t>Økonomistyring</a:t>
            </a:r>
          </a:p>
        </p:txBody>
      </p:sp>
      <p:sp>
        <p:nvSpPr>
          <p:cNvPr id="3" name="Content Placeholder 2"/>
          <p:cNvSpPr>
            <a:spLocks noGrp="1"/>
          </p:cNvSpPr>
          <p:nvPr>
            <p:ph idx="1"/>
          </p:nvPr>
        </p:nvSpPr>
        <p:spPr>
          <a:xfrm>
            <a:off x="1952681" y="2522447"/>
            <a:ext cx="7813303" cy="2481261"/>
          </a:xfrm>
        </p:spPr>
        <p:txBody>
          <a:bodyPr>
            <a:normAutofit/>
          </a:bodyPr>
          <a:lstStyle/>
          <a:p>
            <a:r>
              <a:rPr lang="da-DK" sz="1400" dirty="0">
                <a:hlinkClick r:id="rId4"/>
              </a:rPr>
              <a:t>Økonomivejledningen</a:t>
            </a:r>
            <a:r>
              <a:rPr lang="da-DK" sz="1400" dirty="0"/>
              <a:t> er en manual for bestyrelsernes arbejde med økonomi. </a:t>
            </a:r>
          </a:p>
          <a:p>
            <a:pPr marL="285750" indent="-285750"/>
            <a:r>
              <a:rPr lang="da-DK" sz="1400" dirty="0"/>
              <a:t>Roller &amp; ansvar: Økonomistyring er et </a:t>
            </a:r>
            <a:r>
              <a:rPr lang="da-DK" sz="1400" b="1" dirty="0"/>
              <a:t>samlet bestyrelsesansvar </a:t>
            </a:r>
            <a:r>
              <a:rPr lang="da-DK" sz="1400" dirty="0"/>
              <a:t>(1.2)</a:t>
            </a:r>
          </a:p>
          <a:p>
            <a:pPr marL="285750" indent="-285750"/>
            <a:r>
              <a:rPr lang="da-DK" sz="1400" b="1" dirty="0"/>
              <a:t>Budget</a:t>
            </a:r>
            <a:r>
              <a:rPr lang="da-DK" sz="1400" dirty="0"/>
              <a:t> er et strategisk værktøj for bestyrelserne (2.2)</a:t>
            </a:r>
          </a:p>
          <a:p>
            <a:pPr marL="285750" indent="-285750"/>
            <a:r>
              <a:rPr lang="da-DK" sz="1400" dirty="0"/>
              <a:t>Beskrivelse af </a:t>
            </a:r>
            <a:r>
              <a:rPr lang="da-DK" sz="1400" b="1" dirty="0"/>
              <a:t>revisionsopgaven</a:t>
            </a:r>
            <a:r>
              <a:rPr lang="da-DK" sz="1400" dirty="0"/>
              <a:t> for Røde Kors’ afdelinger (2.4)</a:t>
            </a:r>
          </a:p>
          <a:p>
            <a:pPr marL="285750" indent="-285750"/>
            <a:r>
              <a:rPr lang="da-DK" sz="1400" dirty="0"/>
              <a:t>Retningslinjer for </a:t>
            </a:r>
            <a:r>
              <a:rPr lang="da-DK" sz="1400" b="1" dirty="0"/>
              <a:t>håndtering af betroede </a:t>
            </a:r>
            <a:r>
              <a:rPr lang="da-DK" sz="1400" dirty="0"/>
              <a:t>midler</a:t>
            </a:r>
          </a:p>
          <a:p>
            <a:pPr marL="285750" indent="-285750"/>
            <a:r>
              <a:rPr lang="da-DK" sz="1400" dirty="0"/>
              <a:t>Afsnit om håndtering af misbrugssager/udmøntning af hovedbestyrelsens holdning vedr. </a:t>
            </a:r>
            <a:r>
              <a:rPr lang="da-DK" sz="1400" b="1" dirty="0"/>
              <a:t>anti-korruption </a:t>
            </a:r>
            <a:r>
              <a:rPr lang="da-DK" sz="1400" dirty="0"/>
              <a:t>(2.3)</a:t>
            </a:r>
          </a:p>
        </p:txBody>
      </p:sp>
      <p:sp>
        <p:nvSpPr>
          <p:cNvPr id="4" name="Footer Placeholder 3"/>
          <p:cNvSpPr>
            <a:spLocks noGrp="1"/>
          </p:cNvSpPr>
          <p:nvPr>
            <p:ph type="ftr" sz="quarter" idx="11"/>
          </p:nvPr>
        </p:nvSpPr>
        <p:spPr/>
        <p:txBody>
          <a:bodyPr/>
          <a:lstStyle/>
          <a:p>
            <a:r>
              <a:rPr lang="da-DK" noProof="0"/>
              <a:t>RØDE KORS / Introduktionskursus for nye kasserere / 2025</a:t>
            </a:r>
          </a:p>
        </p:txBody>
      </p:sp>
      <p:pic>
        <p:nvPicPr>
          <p:cNvPr id="9" name="Grafik 8">
            <a:extLst>
              <a:ext uri="{FF2B5EF4-FFF2-40B4-BE49-F238E27FC236}">
                <a16:creationId xmlns:a16="http://schemas.microsoft.com/office/drawing/2014/main" id="{FB78EE3B-AB5C-DCED-2A7B-88F3CD2432BB}"/>
              </a:ext>
            </a:extLst>
          </p:cNvPr>
          <p:cNvPicPr>
            <a:picLocks noChangeAspect="1"/>
          </p:cNvPicPr>
          <p:nvPr>
            <p:custDataLst>
              <p:tags r:id="rId1"/>
            </p:custDataLst>
          </p:nvPr>
        </p:nvPicPr>
        <p:blipFill>
          <a:blip r:embed="rId5">
            <a:extLst>
              <a:ext uri="{96DAC541-7B7A-43D3-8B79-37D633B846F1}">
                <asvg:svgBlip xmlns:asvg="http://schemas.microsoft.com/office/drawing/2016/SVG/main" r:embed="rId6"/>
              </a:ext>
            </a:extLst>
          </a:blip>
          <a:stretch>
            <a:fillRect/>
          </a:stretch>
        </p:blipFill>
        <p:spPr>
          <a:xfrm>
            <a:off x="698179" y="3296601"/>
            <a:ext cx="577217" cy="577217"/>
          </a:xfrm>
          <a:prstGeom prst="rect">
            <a:avLst/>
          </a:prstGeom>
        </p:spPr>
      </p:pic>
    </p:spTree>
    <p:extLst>
      <p:ext uri="{BB962C8B-B14F-4D97-AF65-F5344CB8AC3E}">
        <p14:creationId xmlns:p14="http://schemas.microsoft.com/office/powerpoint/2010/main" val="19153546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76BA95BA-3EC7-4771-B4AA-45A881DACBDC}"/>
              </a:ext>
            </a:extLst>
          </p:cNvPr>
          <p:cNvSpPr/>
          <p:nvPr/>
        </p:nvSpPr>
        <p:spPr>
          <a:xfrm>
            <a:off x="5558407" y="3114502"/>
            <a:ext cx="1075733" cy="1075733"/>
          </a:xfrm>
          <a:custGeom>
            <a:avLst/>
            <a:gdLst>
              <a:gd name="connsiteX0" fmla="*/ 2686220 w 2686219"/>
              <a:gd name="connsiteY0" fmla="*/ 1343110 h 2686219"/>
              <a:gd name="connsiteX1" fmla="*/ 1343110 w 2686219"/>
              <a:gd name="connsiteY1" fmla="*/ 2686220 h 2686219"/>
              <a:gd name="connsiteX2" fmla="*/ 0 w 2686219"/>
              <a:gd name="connsiteY2" fmla="*/ 1343110 h 2686219"/>
              <a:gd name="connsiteX3" fmla="*/ 1343110 w 2686219"/>
              <a:gd name="connsiteY3" fmla="*/ 0 h 2686219"/>
              <a:gd name="connsiteX4" fmla="*/ 2686220 w 2686219"/>
              <a:gd name="connsiteY4" fmla="*/ 1343110 h 2686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6219" h="2686219">
                <a:moveTo>
                  <a:pt x="2686220" y="1343110"/>
                </a:moveTo>
                <a:cubicBezTo>
                  <a:pt x="2686220" y="2084889"/>
                  <a:pt x="2084889" y="2686220"/>
                  <a:pt x="1343110" y="2686220"/>
                </a:cubicBezTo>
                <a:cubicBezTo>
                  <a:pt x="601331" y="2686220"/>
                  <a:pt x="0" y="2084889"/>
                  <a:pt x="0" y="1343110"/>
                </a:cubicBezTo>
                <a:cubicBezTo>
                  <a:pt x="0" y="601331"/>
                  <a:pt x="601331" y="0"/>
                  <a:pt x="1343110" y="0"/>
                </a:cubicBezTo>
                <a:cubicBezTo>
                  <a:pt x="2084889" y="0"/>
                  <a:pt x="2686220" y="601331"/>
                  <a:pt x="2686220" y="1343110"/>
                </a:cubicBezTo>
                <a:close/>
              </a:path>
            </a:pathLst>
          </a:custGeom>
          <a:solidFill>
            <a:schemeClr val="accent1">
              <a:lumMod val="75000"/>
            </a:schemeClr>
          </a:solidFill>
          <a:ln w="2261" cap="flat">
            <a:noFill/>
            <a:prstDash val="solid"/>
            <a:miter/>
          </a:ln>
        </p:spPr>
        <p:txBody>
          <a:bodyPr rtlCol="0" anchor="ctr">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sz="1400" dirty="0"/>
          </a:p>
        </p:txBody>
      </p:sp>
      <p:sp>
        <p:nvSpPr>
          <p:cNvPr id="68" name="1 Shape Name"/>
          <p:cNvSpPr>
            <a:spLocks noGrp="1"/>
          </p:cNvSpPr>
          <p:nvPr>
            <p:ph type="title"/>
          </p:nvPr>
        </p:nvSpPr>
        <p:spPr>
          <a:prstGeom prst="rect">
            <a:avLst/>
          </a:prstGeom>
        </p:spPr>
        <p:txBody>
          <a:bodyPr>
            <a:normAutofit/>
          </a:bodyPr>
          <a:lstStyle/>
          <a:p>
            <a:r>
              <a:rPr lang="da-DK" dirty="0"/>
              <a:t>Kassererens rolle</a:t>
            </a:r>
            <a:br>
              <a:rPr lang="da-DK" dirty="0"/>
            </a:br>
            <a:r>
              <a:rPr lang="da-DK" sz="1600" b="0" dirty="0"/>
              <a:t>Kassereren har som hovedopgave at være tovholder for de økonomiske opgaver i afdelingen</a:t>
            </a:r>
            <a:r>
              <a:rPr lang="da-DK" sz="1300" b="0" dirty="0"/>
              <a:t> (Økonomivejledningen 1.2, side 3)</a:t>
            </a:r>
            <a:endParaRPr dirty="0"/>
          </a:p>
        </p:txBody>
      </p:sp>
      <p:pic>
        <p:nvPicPr>
          <p:cNvPr id="3" name="Grafik 2" descr="Bruger kontur">
            <a:extLst>
              <a:ext uri="{FF2B5EF4-FFF2-40B4-BE49-F238E27FC236}">
                <a16:creationId xmlns:a16="http://schemas.microsoft.com/office/drawing/2014/main" id="{0C3A5975-A75E-AE3A-73CD-A872E6C3F14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729367" y="3253497"/>
            <a:ext cx="733269" cy="733269"/>
          </a:xfrm>
          <a:prstGeom prst="rect">
            <a:avLst/>
          </a:prstGeom>
        </p:spPr>
      </p:pic>
      <p:grpSp>
        <p:nvGrpSpPr>
          <p:cNvPr id="23" name="Gruppe 22">
            <a:extLst>
              <a:ext uri="{FF2B5EF4-FFF2-40B4-BE49-F238E27FC236}">
                <a16:creationId xmlns:a16="http://schemas.microsoft.com/office/drawing/2014/main" id="{0BC59817-7DF3-89B8-642A-087BA5CEBA59}"/>
              </a:ext>
            </a:extLst>
          </p:cNvPr>
          <p:cNvGrpSpPr/>
          <p:nvPr/>
        </p:nvGrpSpPr>
        <p:grpSpPr>
          <a:xfrm>
            <a:off x="6127966" y="2279088"/>
            <a:ext cx="5285465" cy="1341044"/>
            <a:chOff x="6127966" y="2279088"/>
            <a:chExt cx="5285465" cy="1341044"/>
          </a:xfrm>
        </p:grpSpPr>
        <p:sp>
          <p:nvSpPr>
            <p:cNvPr id="67" name="Footer Text">
              <a:extLst>
                <a:ext uri="{FF2B5EF4-FFF2-40B4-BE49-F238E27FC236}">
                  <a16:creationId xmlns:a16="http://schemas.microsoft.com/office/drawing/2014/main" id="{4EB0EDB0-0969-4620-B5EC-5A4DB84B7D5D}"/>
                </a:ext>
              </a:extLst>
            </p:cNvPr>
            <p:cNvSpPr txBox="1"/>
            <p:nvPr/>
          </p:nvSpPr>
          <p:spPr>
            <a:xfrm>
              <a:off x="7592571" y="2519644"/>
              <a:ext cx="3820860" cy="182538"/>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ts val="600"/>
                </a:spcBef>
              </a:pPr>
              <a:r>
                <a:rPr lang="da-DK" sz="1200" b="1" dirty="0"/>
                <a:t>Deltage i bestyrelsens drøftelser om afdelingens planer og budgetlægning</a:t>
              </a:r>
            </a:p>
          </p:txBody>
        </p:sp>
        <p:grpSp>
          <p:nvGrpSpPr>
            <p:cNvPr id="22" name="Gruppe 21">
              <a:extLst>
                <a:ext uri="{FF2B5EF4-FFF2-40B4-BE49-F238E27FC236}">
                  <a16:creationId xmlns:a16="http://schemas.microsoft.com/office/drawing/2014/main" id="{7A9DBE79-4361-BAC0-27BA-AEE1A022B741}"/>
                </a:ext>
              </a:extLst>
            </p:cNvPr>
            <p:cNvGrpSpPr/>
            <p:nvPr/>
          </p:nvGrpSpPr>
          <p:grpSpPr>
            <a:xfrm>
              <a:off x="6127966" y="2279088"/>
              <a:ext cx="1341045" cy="1341044"/>
              <a:chOff x="6127966" y="2279088"/>
              <a:chExt cx="1341045" cy="1341044"/>
            </a:xfrm>
          </p:grpSpPr>
          <p:sp>
            <p:nvSpPr>
              <p:cNvPr id="7" name="Freeform: Shape 6">
                <a:extLst>
                  <a:ext uri="{FF2B5EF4-FFF2-40B4-BE49-F238E27FC236}">
                    <a16:creationId xmlns:a16="http://schemas.microsoft.com/office/drawing/2014/main" id="{CDEB555E-EC62-4E3E-9C4F-C051B0BA3EB8}"/>
                  </a:ext>
                </a:extLst>
              </p:cNvPr>
              <p:cNvSpPr/>
              <p:nvPr/>
            </p:nvSpPr>
            <p:spPr>
              <a:xfrm>
                <a:off x="6127966" y="2279088"/>
                <a:ext cx="1341045" cy="1341044"/>
              </a:xfrm>
              <a:custGeom>
                <a:avLst/>
                <a:gdLst>
                  <a:gd name="connsiteX0" fmla="*/ 1424737 w 3348729"/>
                  <a:gd name="connsiteY0" fmla="*/ 3350087 h 3348729"/>
                  <a:gd name="connsiteX1" fmla="*/ 3350087 w 3348729"/>
                  <a:gd name="connsiteY1" fmla="*/ 3350087 h 3348729"/>
                  <a:gd name="connsiteX2" fmla="*/ 0 w 3348729"/>
                  <a:gd name="connsiteY2" fmla="*/ 0 h 3348729"/>
                  <a:gd name="connsiteX3" fmla="*/ 0 w 3348729"/>
                  <a:gd name="connsiteY3" fmla="*/ 1925350 h 3348729"/>
                  <a:gd name="connsiteX4" fmla="*/ 1424737 w 3348729"/>
                  <a:gd name="connsiteY4" fmla="*/ 3350087 h 3348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8729" h="3348729">
                    <a:moveTo>
                      <a:pt x="1424737" y="3350087"/>
                    </a:moveTo>
                    <a:lnTo>
                      <a:pt x="3350087" y="3350087"/>
                    </a:lnTo>
                    <a:cubicBezTo>
                      <a:pt x="3308708" y="1518573"/>
                      <a:pt x="1831514" y="41379"/>
                      <a:pt x="0" y="0"/>
                    </a:cubicBezTo>
                    <a:lnTo>
                      <a:pt x="0" y="1925350"/>
                    </a:lnTo>
                    <a:cubicBezTo>
                      <a:pt x="768783" y="1965146"/>
                      <a:pt x="1384941" y="2581303"/>
                      <a:pt x="1424737" y="3350087"/>
                    </a:cubicBezTo>
                    <a:close/>
                  </a:path>
                </a:pathLst>
              </a:custGeom>
              <a:solidFill>
                <a:schemeClr val="accent1"/>
              </a:solidFill>
              <a:ln w="2261" cap="flat">
                <a:noFill/>
                <a:prstDash val="solid"/>
                <a:miter/>
              </a:ln>
            </p:spPr>
            <p:txBody>
              <a:bodyPr rtlCol="0" anchor="ctr">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sz="1400"/>
              </a:p>
            </p:txBody>
          </p:sp>
          <p:pic>
            <p:nvPicPr>
              <p:cNvPr id="10" name="Grafik 9" descr="Chat kontur">
                <a:extLst>
                  <a:ext uri="{FF2B5EF4-FFF2-40B4-BE49-F238E27FC236}">
                    <a16:creationId xmlns:a16="http://schemas.microsoft.com/office/drawing/2014/main" id="{822FA6FE-685B-3C5E-C1DA-724974B3A96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534360" y="2717549"/>
                <a:ext cx="548805" cy="548805"/>
              </a:xfrm>
              <a:prstGeom prst="rect">
                <a:avLst/>
              </a:prstGeom>
            </p:spPr>
          </p:pic>
        </p:grpSp>
      </p:grpSp>
      <p:grpSp>
        <p:nvGrpSpPr>
          <p:cNvPr id="26" name="Gruppe 25">
            <a:extLst>
              <a:ext uri="{FF2B5EF4-FFF2-40B4-BE49-F238E27FC236}">
                <a16:creationId xmlns:a16="http://schemas.microsoft.com/office/drawing/2014/main" id="{29DE802D-EE46-693F-D151-FD78A33BC081}"/>
              </a:ext>
            </a:extLst>
          </p:cNvPr>
          <p:cNvGrpSpPr/>
          <p:nvPr/>
        </p:nvGrpSpPr>
        <p:grpSpPr>
          <a:xfrm>
            <a:off x="778568" y="2279088"/>
            <a:ext cx="5285470" cy="1341044"/>
            <a:chOff x="778568" y="2279088"/>
            <a:chExt cx="5285470" cy="1341044"/>
          </a:xfrm>
        </p:grpSpPr>
        <p:sp>
          <p:nvSpPr>
            <p:cNvPr id="8" name="Freeform: Shape 7">
              <a:extLst>
                <a:ext uri="{FF2B5EF4-FFF2-40B4-BE49-F238E27FC236}">
                  <a16:creationId xmlns:a16="http://schemas.microsoft.com/office/drawing/2014/main" id="{5C2EA159-FE30-4B95-B27E-4D339A3BF206}"/>
                </a:ext>
              </a:extLst>
            </p:cNvPr>
            <p:cNvSpPr/>
            <p:nvPr/>
          </p:nvSpPr>
          <p:spPr>
            <a:xfrm>
              <a:off x="4722993" y="2279088"/>
              <a:ext cx="1341045" cy="1341044"/>
            </a:xfrm>
            <a:custGeom>
              <a:avLst/>
              <a:gdLst>
                <a:gd name="connsiteX0" fmla="*/ 3350087 w 3348729"/>
                <a:gd name="connsiteY0" fmla="*/ 1925350 h 3348729"/>
                <a:gd name="connsiteX1" fmla="*/ 3350087 w 3348729"/>
                <a:gd name="connsiteY1" fmla="*/ 0 h 3348729"/>
                <a:gd name="connsiteX2" fmla="*/ 0 w 3348729"/>
                <a:gd name="connsiteY2" fmla="*/ 3350087 h 3348729"/>
                <a:gd name="connsiteX3" fmla="*/ 1925350 w 3348729"/>
                <a:gd name="connsiteY3" fmla="*/ 3350087 h 3348729"/>
                <a:gd name="connsiteX4" fmla="*/ 3350087 w 3348729"/>
                <a:gd name="connsiteY4" fmla="*/ 1925350 h 3348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8729" h="3348729">
                  <a:moveTo>
                    <a:pt x="3350087" y="1925350"/>
                  </a:moveTo>
                  <a:lnTo>
                    <a:pt x="3350087" y="0"/>
                  </a:lnTo>
                  <a:cubicBezTo>
                    <a:pt x="1518573" y="41379"/>
                    <a:pt x="41379" y="1518573"/>
                    <a:pt x="0" y="3350087"/>
                  </a:cubicBezTo>
                  <a:lnTo>
                    <a:pt x="1925350" y="3350087"/>
                  </a:lnTo>
                  <a:cubicBezTo>
                    <a:pt x="1965146" y="2581303"/>
                    <a:pt x="2581303" y="1965146"/>
                    <a:pt x="3350087" y="1925350"/>
                  </a:cubicBezTo>
                  <a:close/>
                </a:path>
              </a:pathLst>
            </a:custGeom>
            <a:solidFill>
              <a:schemeClr val="accent1"/>
            </a:solidFill>
            <a:ln w="2261" cap="flat">
              <a:noFill/>
              <a:prstDash val="solid"/>
              <a:miter/>
            </a:ln>
          </p:spPr>
          <p:txBody>
            <a:bodyPr rtlCol="0" anchor="ctr">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sz="1400"/>
            </a:p>
          </p:txBody>
        </p:sp>
        <p:sp>
          <p:nvSpPr>
            <p:cNvPr id="16" name="Footer Text">
              <a:extLst>
                <a:ext uri="{FF2B5EF4-FFF2-40B4-BE49-F238E27FC236}">
                  <a16:creationId xmlns:a16="http://schemas.microsoft.com/office/drawing/2014/main" id="{599FF922-46E6-4530-B63B-0884BF7E6F55}"/>
                </a:ext>
              </a:extLst>
            </p:cNvPr>
            <p:cNvSpPr txBox="1"/>
            <p:nvPr/>
          </p:nvSpPr>
          <p:spPr>
            <a:xfrm>
              <a:off x="778568" y="2519644"/>
              <a:ext cx="3820856" cy="182538"/>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defTabSz="1375467" eaLnBrk="0" fontAlgn="base" hangingPunct="0">
                <a:spcBef>
                  <a:spcPct val="50000"/>
                </a:spcBef>
                <a:spcAft>
                  <a:spcPct val="0"/>
                </a:spcAft>
              </a:pPr>
              <a:r>
                <a:rPr lang="da-DK" sz="1200" b="1" noProof="0" dirty="0"/>
                <a:t>Sikre at afdelingen har konkrete forretningsgange og retningslinjer for økonomistyring, og at de efterleves</a:t>
              </a:r>
            </a:p>
            <a:p>
              <a:pPr algn="r" defTabSz="1375467" eaLnBrk="0" fontAlgn="base" hangingPunct="0">
                <a:spcBef>
                  <a:spcPct val="50000"/>
                </a:spcBef>
                <a:spcAft>
                  <a:spcPct val="0"/>
                </a:spcAft>
              </a:pPr>
              <a:r>
                <a:rPr lang="da-DK" sz="1100" noProof="0" dirty="0"/>
                <a:t>Herunder sikre retningslinjer for økonomihåndtering i butik, specielt kontanthåndtering </a:t>
              </a:r>
            </a:p>
          </p:txBody>
        </p:sp>
        <p:pic>
          <p:nvPicPr>
            <p:cNvPr id="17" name="Grafik 16" descr="Årsag og virkning kontur">
              <a:extLst>
                <a:ext uri="{FF2B5EF4-FFF2-40B4-BE49-F238E27FC236}">
                  <a16:creationId xmlns:a16="http://schemas.microsoft.com/office/drawing/2014/main" id="{4AEF3955-2270-F552-34E4-BCCF9303A30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179864" y="2751836"/>
              <a:ext cx="489166" cy="489166"/>
            </a:xfrm>
            <a:prstGeom prst="rect">
              <a:avLst/>
            </a:prstGeom>
          </p:spPr>
        </p:pic>
      </p:grpSp>
      <p:grpSp>
        <p:nvGrpSpPr>
          <p:cNvPr id="25" name="Gruppe 24">
            <a:extLst>
              <a:ext uri="{FF2B5EF4-FFF2-40B4-BE49-F238E27FC236}">
                <a16:creationId xmlns:a16="http://schemas.microsoft.com/office/drawing/2014/main" id="{BEB0595A-2563-857A-3955-E9229C28AE8C}"/>
              </a:ext>
            </a:extLst>
          </p:cNvPr>
          <p:cNvGrpSpPr/>
          <p:nvPr/>
        </p:nvGrpSpPr>
        <p:grpSpPr>
          <a:xfrm>
            <a:off x="778569" y="3684061"/>
            <a:ext cx="5285469" cy="1341044"/>
            <a:chOff x="778569" y="3684061"/>
            <a:chExt cx="5285469" cy="1341044"/>
          </a:xfrm>
        </p:grpSpPr>
        <p:sp>
          <p:nvSpPr>
            <p:cNvPr id="5" name="Freeform: Shape 4">
              <a:extLst>
                <a:ext uri="{FF2B5EF4-FFF2-40B4-BE49-F238E27FC236}">
                  <a16:creationId xmlns:a16="http://schemas.microsoft.com/office/drawing/2014/main" id="{5DA6614C-63F4-4608-9810-F1207CB7DC31}"/>
                </a:ext>
              </a:extLst>
            </p:cNvPr>
            <p:cNvSpPr/>
            <p:nvPr/>
          </p:nvSpPr>
          <p:spPr>
            <a:xfrm>
              <a:off x="4722993" y="3684061"/>
              <a:ext cx="1341045" cy="1341044"/>
            </a:xfrm>
            <a:custGeom>
              <a:avLst/>
              <a:gdLst>
                <a:gd name="connsiteX0" fmla="*/ 1925350 w 3348729"/>
                <a:gd name="connsiteY0" fmla="*/ 0 h 3348729"/>
                <a:gd name="connsiteX1" fmla="*/ 0 w 3348729"/>
                <a:gd name="connsiteY1" fmla="*/ 0 h 3348729"/>
                <a:gd name="connsiteX2" fmla="*/ 3350087 w 3348729"/>
                <a:gd name="connsiteY2" fmla="*/ 3350087 h 3348729"/>
                <a:gd name="connsiteX3" fmla="*/ 3350087 w 3348729"/>
                <a:gd name="connsiteY3" fmla="*/ 1424737 h 3348729"/>
                <a:gd name="connsiteX4" fmla="*/ 1925350 w 3348729"/>
                <a:gd name="connsiteY4" fmla="*/ 0 h 3348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8729" h="3348729">
                  <a:moveTo>
                    <a:pt x="1925350" y="0"/>
                  </a:moveTo>
                  <a:lnTo>
                    <a:pt x="0" y="0"/>
                  </a:lnTo>
                  <a:cubicBezTo>
                    <a:pt x="41379" y="1831514"/>
                    <a:pt x="1518573" y="3308708"/>
                    <a:pt x="3350087" y="3350087"/>
                  </a:cubicBezTo>
                  <a:lnTo>
                    <a:pt x="3350087" y="1424737"/>
                  </a:lnTo>
                  <a:cubicBezTo>
                    <a:pt x="2581303" y="1384941"/>
                    <a:pt x="1965146" y="768783"/>
                    <a:pt x="1925350" y="0"/>
                  </a:cubicBezTo>
                  <a:close/>
                </a:path>
              </a:pathLst>
            </a:custGeom>
            <a:solidFill>
              <a:schemeClr val="accent1"/>
            </a:solidFill>
            <a:ln w="2261" cap="flat">
              <a:noFill/>
              <a:prstDash val="solid"/>
              <a:miter/>
            </a:ln>
          </p:spPr>
          <p:txBody>
            <a:bodyPr rtlCol="0" anchor="ctr">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sz="1400" dirty="0"/>
            </a:p>
          </p:txBody>
        </p:sp>
        <p:sp>
          <p:nvSpPr>
            <p:cNvPr id="53" name="Footer Text">
              <a:extLst>
                <a:ext uri="{FF2B5EF4-FFF2-40B4-BE49-F238E27FC236}">
                  <a16:creationId xmlns:a16="http://schemas.microsoft.com/office/drawing/2014/main" id="{55E9A036-7549-4EFD-BD32-EA9C3A2B049A}"/>
                </a:ext>
              </a:extLst>
            </p:cNvPr>
            <p:cNvSpPr txBox="1"/>
            <p:nvPr/>
          </p:nvSpPr>
          <p:spPr>
            <a:xfrm>
              <a:off x="778569" y="4391021"/>
              <a:ext cx="3820857" cy="182538"/>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spcBef>
                  <a:spcPts val="600"/>
                </a:spcBef>
              </a:pPr>
              <a:r>
                <a:rPr lang="da-DK" sz="1200" b="1" dirty="0"/>
                <a:t>Sikre at bestyrelsen holdes opdateret om afdelingens økonomi</a:t>
              </a:r>
            </a:p>
          </p:txBody>
        </p:sp>
        <p:pic>
          <p:nvPicPr>
            <p:cNvPr id="19" name="Grafik 18" descr="Dokument kontur">
              <a:extLst>
                <a:ext uri="{FF2B5EF4-FFF2-40B4-BE49-F238E27FC236}">
                  <a16:creationId xmlns:a16="http://schemas.microsoft.com/office/drawing/2014/main" id="{A222076B-1597-6175-4E2F-B41A5550619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227983" y="4131960"/>
              <a:ext cx="441047" cy="441047"/>
            </a:xfrm>
            <a:prstGeom prst="rect">
              <a:avLst/>
            </a:prstGeom>
          </p:spPr>
        </p:pic>
      </p:grpSp>
      <p:grpSp>
        <p:nvGrpSpPr>
          <p:cNvPr id="24" name="Gruppe 23">
            <a:extLst>
              <a:ext uri="{FF2B5EF4-FFF2-40B4-BE49-F238E27FC236}">
                <a16:creationId xmlns:a16="http://schemas.microsoft.com/office/drawing/2014/main" id="{BFE6E668-20B6-CA6C-F798-75EBB88C8B42}"/>
              </a:ext>
            </a:extLst>
          </p:cNvPr>
          <p:cNvGrpSpPr/>
          <p:nvPr/>
        </p:nvGrpSpPr>
        <p:grpSpPr>
          <a:xfrm>
            <a:off x="6127966" y="3684061"/>
            <a:ext cx="5285465" cy="1341044"/>
            <a:chOff x="6127966" y="3684061"/>
            <a:chExt cx="5285465" cy="1341044"/>
          </a:xfrm>
        </p:grpSpPr>
        <p:sp>
          <p:nvSpPr>
            <p:cNvPr id="6" name="Freeform: Shape 5">
              <a:extLst>
                <a:ext uri="{FF2B5EF4-FFF2-40B4-BE49-F238E27FC236}">
                  <a16:creationId xmlns:a16="http://schemas.microsoft.com/office/drawing/2014/main" id="{5790B86E-E6F4-4A63-B740-1126B3F4CA9F}"/>
                </a:ext>
              </a:extLst>
            </p:cNvPr>
            <p:cNvSpPr/>
            <p:nvPr/>
          </p:nvSpPr>
          <p:spPr>
            <a:xfrm>
              <a:off x="6127966" y="3684061"/>
              <a:ext cx="1341045" cy="1341044"/>
            </a:xfrm>
            <a:custGeom>
              <a:avLst/>
              <a:gdLst>
                <a:gd name="connsiteX0" fmla="*/ 0 w 3348729"/>
                <a:gd name="connsiteY0" fmla="*/ 1424737 h 3348729"/>
                <a:gd name="connsiteX1" fmla="*/ 0 w 3348729"/>
                <a:gd name="connsiteY1" fmla="*/ 3350087 h 3348729"/>
                <a:gd name="connsiteX2" fmla="*/ 3350087 w 3348729"/>
                <a:gd name="connsiteY2" fmla="*/ 0 h 3348729"/>
                <a:gd name="connsiteX3" fmla="*/ 1424737 w 3348729"/>
                <a:gd name="connsiteY3" fmla="*/ 0 h 3348729"/>
                <a:gd name="connsiteX4" fmla="*/ 0 w 3348729"/>
                <a:gd name="connsiteY4" fmla="*/ 1424737 h 3348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8729" h="3348729">
                  <a:moveTo>
                    <a:pt x="0" y="1424737"/>
                  </a:moveTo>
                  <a:lnTo>
                    <a:pt x="0" y="3350087"/>
                  </a:lnTo>
                  <a:cubicBezTo>
                    <a:pt x="1831514" y="3308708"/>
                    <a:pt x="3308708" y="1831514"/>
                    <a:pt x="3350087" y="0"/>
                  </a:cubicBezTo>
                  <a:lnTo>
                    <a:pt x="1424737" y="0"/>
                  </a:lnTo>
                  <a:cubicBezTo>
                    <a:pt x="1384941" y="768783"/>
                    <a:pt x="768783" y="1384941"/>
                    <a:pt x="0" y="1424737"/>
                  </a:cubicBezTo>
                  <a:close/>
                </a:path>
              </a:pathLst>
            </a:custGeom>
            <a:solidFill>
              <a:schemeClr val="accent1"/>
            </a:solidFill>
            <a:ln w="2261" cap="flat">
              <a:noFill/>
              <a:prstDash val="solid"/>
              <a:miter/>
            </a:ln>
          </p:spPr>
          <p:txBody>
            <a:bodyPr rtlCol="0" anchor="ctr">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sz="1400" dirty="0"/>
            </a:p>
          </p:txBody>
        </p:sp>
        <p:sp>
          <p:nvSpPr>
            <p:cNvPr id="65" name="Footer Text">
              <a:extLst>
                <a:ext uri="{FF2B5EF4-FFF2-40B4-BE49-F238E27FC236}">
                  <a16:creationId xmlns:a16="http://schemas.microsoft.com/office/drawing/2014/main" id="{564F853B-E367-4086-B014-433F049B8DD4}"/>
                </a:ext>
              </a:extLst>
            </p:cNvPr>
            <p:cNvSpPr txBox="1"/>
            <p:nvPr/>
          </p:nvSpPr>
          <p:spPr>
            <a:xfrm>
              <a:off x="7592572" y="4376037"/>
              <a:ext cx="3820859" cy="182538"/>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ts val="600"/>
                </a:spcBef>
              </a:pPr>
              <a:r>
                <a:rPr lang="da-DK" sz="1200" b="1" dirty="0"/>
                <a:t>Sørge for at afdelingens budget og årsregnskab udarbejdes, og at der bogføres løbende</a:t>
              </a:r>
            </a:p>
          </p:txBody>
        </p:sp>
        <p:pic>
          <p:nvPicPr>
            <p:cNvPr id="21" name="Grafik 20" descr="Lommeregner kontur">
              <a:extLst>
                <a:ext uri="{FF2B5EF4-FFF2-40B4-BE49-F238E27FC236}">
                  <a16:creationId xmlns:a16="http://schemas.microsoft.com/office/drawing/2014/main" id="{B23AB7B2-B742-89FF-6A5F-B97229E4192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529101" y="4101768"/>
              <a:ext cx="457200" cy="457200"/>
            </a:xfrm>
            <a:prstGeom prst="rect">
              <a:avLst/>
            </a:prstGeom>
          </p:spPr>
        </p:pic>
      </p:grpSp>
    </p:spTree>
    <p:custDataLst>
      <p:tags r:id="rId1"/>
    </p:custDataLst>
    <p:extLst>
      <p:ext uri="{BB962C8B-B14F-4D97-AF65-F5344CB8AC3E}">
        <p14:creationId xmlns:p14="http://schemas.microsoft.com/office/powerpoint/2010/main" val="1347672766"/>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da-DK" sz="4000" dirty="0"/>
              <a:t>Kassererens rolle</a:t>
            </a:r>
            <a:br>
              <a:rPr lang="da-DK" sz="4000" dirty="0"/>
            </a:br>
            <a:r>
              <a:rPr lang="da-DK" sz="1000" dirty="0"/>
              <a:t>(fra Økonomivejledningen)</a:t>
            </a:r>
            <a:endParaRPr lang="da-DK" sz="4000" dirty="0"/>
          </a:p>
        </p:txBody>
      </p:sp>
      <p:pic>
        <p:nvPicPr>
          <p:cNvPr id="9" name="Pladsholder til indhold 8" descr="Et billede, der indeholder tekst, skærmbillede, diagram, Font/skrifttype&#10;&#10;Indhold genereret af kunstig intelligens kan være forkert.">
            <a:extLst>
              <a:ext uri="{FF2B5EF4-FFF2-40B4-BE49-F238E27FC236}">
                <a16:creationId xmlns:a16="http://schemas.microsoft.com/office/drawing/2014/main" id="{6CDE85E3-8FF1-D4A6-D513-B0200D88375D}"/>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546307" y="1420602"/>
            <a:ext cx="9119069" cy="4756394"/>
          </a:xfrm>
        </p:spPr>
      </p:pic>
      <p:sp>
        <p:nvSpPr>
          <p:cNvPr id="4" name="Footer Placeholder 3"/>
          <p:cNvSpPr>
            <a:spLocks noGrp="1"/>
          </p:cNvSpPr>
          <p:nvPr>
            <p:ph type="ftr" sz="quarter" idx="11"/>
          </p:nvPr>
        </p:nvSpPr>
        <p:spPr/>
        <p:txBody>
          <a:bodyPr/>
          <a:lstStyle/>
          <a:p>
            <a:r>
              <a:rPr lang="da-DK" noProof="0"/>
              <a:t>RØDE KORS / Introduktionskursus for nye kasserere / 2025</a:t>
            </a:r>
          </a:p>
        </p:txBody>
      </p:sp>
    </p:spTree>
    <p:extLst>
      <p:ext uri="{BB962C8B-B14F-4D97-AF65-F5344CB8AC3E}">
        <p14:creationId xmlns:p14="http://schemas.microsoft.com/office/powerpoint/2010/main" val="7052290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56B7896-90D9-2F65-D52F-B70EA3236C9B}"/>
              </a:ext>
            </a:extLst>
          </p:cNvPr>
          <p:cNvSpPr>
            <a:spLocks noGrp="1"/>
          </p:cNvSpPr>
          <p:nvPr>
            <p:ph type="title"/>
          </p:nvPr>
        </p:nvSpPr>
        <p:spPr/>
        <p:txBody>
          <a:bodyPr/>
          <a:lstStyle/>
          <a:p>
            <a:r>
              <a:rPr lang="da-DK" dirty="0"/>
              <a:t>Kassererens rolle</a:t>
            </a:r>
          </a:p>
        </p:txBody>
      </p:sp>
      <p:sp>
        <p:nvSpPr>
          <p:cNvPr id="4" name="Pladsholder til sidefod 3">
            <a:extLst>
              <a:ext uri="{FF2B5EF4-FFF2-40B4-BE49-F238E27FC236}">
                <a16:creationId xmlns:a16="http://schemas.microsoft.com/office/drawing/2014/main" id="{5D31B7B7-5072-123E-8AD8-AA31D09D855D}"/>
              </a:ext>
            </a:extLst>
          </p:cNvPr>
          <p:cNvSpPr>
            <a:spLocks noGrp="1"/>
          </p:cNvSpPr>
          <p:nvPr>
            <p:ph type="ftr" sz="quarter" idx="11"/>
          </p:nvPr>
        </p:nvSpPr>
        <p:spPr/>
        <p:txBody>
          <a:bodyPr/>
          <a:lstStyle/>
          <a:p>
            <a:r>
              <a:rPr lang="da-DK" dirty="0"/>
              <a:t>RØDE KORS / Introduktionskursus for nye kasserere / 2025</a:t>
            </a:r>
          </a:p>
        </p:txBody>
      </p:sp>
      <p:sp>
        <p:nvSpPr>
          <p:cNvPr id="5" name="Rektangel 4">
            <a:extLst>
              <a:ext uri="{FF2B5EF4-FFF2-40B4-BE49-F238E27FC236}">
                <a16:creationId xmlns:a16="http://schemas.microsoft.com/office/drawing/2014/main" id="{810CCBF2-5915-5D72-6CC4-D4061EB77DFD}"/>
              </a:ext>
            </a:extLst>
          </p:cNvPr>
          <p:cNvSpPr/>
          <p:nvPr/>
        </p:nvSpPr>
        <p:spPr>
          <a:xfrm>
            <a:off x="3909392" y="2315862"/>
            <a:ext cx="7444406" cy="2746017"/>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1"/>
            <a:r>
              <a:rPr lang="da-DK" sz="1400" b="1" dirty="0">
                <a:solidFill>
                  <a:schemeClr val="tx1"/>
                </a:solidFill>
              </a:rPr>
              <a:t>Antallet af opgaver kan godt virke overvældende, men i mange tilfælde kan man som kasserer med fordel have </a:t>
            </a:r>
          </a:p>
          <a:p>
            <a:pPr lvl="1"/>
            <a:r>
              <a:rPr lang="da-DK" sz="1400" b="1" i="1" dirty="0">
                <a:solidFill>
                  <a:schemeClr val="tx2">
                    <a:lumMod val="75000"/>
                  </a:schemeClr>
                </a:solidFill>
              </a:rPr>
              <a:t>en eller flere hjælpere, der står for specifikke opgaver</a:t>
            </a:r>
            <a:r>
              <a:rPr lang="da-DK" sz="1400" b="1" dirty="0">
                <a:solidFill>
                  <a:schemeClr val="tx2">
                    <a:lumMod val="75000"/>
                  </a:schemeClr>
                </a:solidFill>
              </a:rPr>
              <a:t>, </a:t>
            </a:r>
          </a:p>
          <a:p>
            <a:pPr lvl="1"/>
            <a:r>
              <a:rPr lang="da-DK" sz="1400" b="1" dirty="0">
                <a:solidFill>
                  <a:schemeClr val="tx1"/>
                </a:solidFill>
              </a:rPr>
              <a:t>mens kassereren har ansvaret over for bestyrelsen. </a:t>
            </a:r>
            <a:br>
              <a:rPr lang="da-DK" sz="1100" b="1" dirty="0">
                <a:solidFill>
                  <a:schemeClr val="tx1"/>
                </a:solidFill>
              </a:rPr>
            </a:br>
            <a:r>
              <a:rPr lang="da-DK" sz="1100" dirty="0">
                <a:solidFill>
                  <a:schemeClr val="tx1"/>
                </a:solidFill>
              </a:rPr>
              <a:t>(Økonomivejledningen 1.3, side 4)</a:t>
            </a:r>
          </a:p>
          <a:p>
            <a:pPr lvl="1"/>
            <a:endParaRPr lang="da-DK" sz="1400" b="1" dirty="0">
              <a:solidFill>
                <a:schemeClr val="tx1"/>
              </a:solidFill>
            </a:endParaRPr>
          </a:p>
          <a:p>
            <a:pPr lvl="1"/>
            <a:endParaRPr lang="da-DK" sz="1400" b="1" dirty="0">
              <a:solidFill>
                <a:schemeClr val="tx1"/>
              </a:solidFill>
            </a:endParaRPr>
          </a:p>
          <a:p>
            <a:pPr lvl="1"/>
            <a:endParaRPr lang="da-DK" sz="1400" b="1" dirty="0">
              <a:solidFill>
                <a:schemeClr val="tx1"/>
              </a:solidFill>
            </a:endParaRPr>
          </a:p>
          <a:p>
            <a:pPr lvl="1"/>
            <a:endParaRPr lang="da-DK" sz="1400" b="1" dirty="0">
              <a:solidFill>
                <a:schemeClr val="tx1"/>
              </a:solidFill>
            </a:endParaRPr>
          </a:p>
        </p:txBody>
      </p:sp>
      <p:grpSp>
        <p:nvGrpSpPr>
          <p:cNvPr id="25" name="Gruppe 24">
            <a:extLst>
              <a:ext uri="{FF2B5EF4-FFF2-40B4-BE49-F238E27FC236}">
                <a16:creationId xmlns:a16="http://schemas.microsoft.com/office/drawing/2014/main" id="{D73450F1-A309-B9E0-92DC-CB422DFC963D}"/>
              </a:ext>
            </a:extLst>
          </p:cNvPr>
          <p:cNvGrpSpPr/>
          <p:nvPr/>
        </p:nvGrpSpPr>
        <p:grpSpPr>
          <a:xfrm>
            <a:off x="838199" y="2315862"/>
            <a:ext cx="2746018" cy="2746017"/>
            <a:chOff x="4722993" y="2279088"/>
            <a:chExt cx="2746018" cy="2746017"/>
          </a:xfrm>
        </p:grpSpPr>
        <p:sp>
          <p:nvSpPr>
            <p:cNvPr id="6" name="Freeform: Shape 8">
              <a:extLst>
                <a:ext uri="{FF2B5EF4-FFF2-40B4-BE49-F238E27FC236}">
                  <a16:creationId xmlns:a16="http://schemas.microsoft.com/office/drawing/2014/main" id="{F52FA2D3-0C24-28CE-A862-4CFC2C9A34D5}"/>
                </a:ext>
              </a:extLst>
            </p:cNvPr>
            <p:cNvSpPr/>
            <p:nvPr/>
          </p:nvSpPr>
          <p:spPr>
            <a:xfrm>
              <a:off x="5558407" y="3114502"/>
              <a:ext cx="1075733" cy="1075733"/>
            </a:xfrm>
            <a:custGeom>
              <a:avLst/>
              <a:gdLst>
                <a:gd name="connsiteX0" fmla="*/ 2686220 w 2686219"/>
                <a:gd name="connsiteY0" fmla="*/ 1343110 h 2686219"/>
                <a:gd name="connsiteX1" fmla="*/ 1343110 w 2686219"/>
                <a:gd name="connsiteY1" fmla="*/ 2686220 h 2686219"/>
                <a:gd name="connsiteX2" fmla="*/ 0 w 2686219"/>
                <a:gd name="connsiteY2" fmla="*/ 1343110 h 2686219"/>
                <a:gd name="connsiteX3" fmla="*/ 1343110 w 2686219"/>
                <a:gd name="connsiteY3" fmla="*/ 0 h 2686219"/>
                <a:gd name="connsiteX4" fmla="*/ 2686220 w 2686219"/>
                <a:gd name="connsiteY4" fmla="*/ 1343110 h 26862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6219" h="2686219">
                  <a:moveTo>
                    <a:pt x="2686220" y="1343110"/>
                  </a:moveTo>
                  <a:cubicBezTo>
                    <a:pt x="2686220" y="2084889"/>
                    <a:pt x="2084889" y="2686220"/>
                    <a:pt x="1343110" y="2686220"/>
                  </a:cubicBezTo>
                  <a:cubicBezTo>
                    <a:pt x="601331" y="2686220"/>
                    <a:pt x="0" y="2084889"/>
                    <a:pt x="0" y="1343110"/>
                  </a:cubicBezTo>
                  <a:cubicBezTo>
                    <a:pt x="0" y="601331"/>
                    <a:pt x="601331" y="0"/>
                    <a:pt x="1343110" y="0"/>
                  </a:cubicBezTo>
                  <a:cubicBezTo>
                    <a:pt x="2084889" y="0"/>
                    <a:pt x="2686220" y="601331"/>
                    <a:pt x="2686220" y="1343110"/>
                  </a:cubicBezTo>
                  <a:close/>
                </a:path>
              </a:pathLst>
            </a:custGeom>
            <a:solidFill>
              <a:schemeClr val="accent1">
                <a:lumMod val="75000"/>
              </a:schemeClr>
            </a:solidFill>
            <a:ln w="2261" cap="flat">
              <a:noFill/>
              <a:prstDash val="solid"/>
              <a:miter/>
            </a:ln>
          </p:spPr>
          <p:txBody>
            <a:bodyPr rtlCol="0" anchor="ctr">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sz="1400" dirty="0"/>
            </a:p>
          </p:txBody>
        </p:sp>
        <p:pic>
          <p:nvPicPr>
            <p:cNvPr id="7" name="Grafik 6" descr="Bruger kontur">
              <a:extLst>
                <a:ext uri="{FF2B5EF4-FFF2-40B4-BE49-F238E27FC236}">
                  <a16:creationId xmlns:a16="http://schemas.microsoft.com/office/drawing/2014/main" id="{41091E70-BE1A-6222-D037-F8865BCCE18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29367" y="3253497"/>
              <a:ext cx="733269" cy="733269"/>
            </a:xfrm>
            <a:prstGeom prst="rect">
              <a:avLst/>
            </a:prstGeom>
          </p:spPr>
        </p:pic>
        <p:grpSp>
          <p:nvGrpSpPr>
            <p:cNvPr id="10" name="Gruppe 9">
              <a:extLst>
                <a:ext uri="{FF2B5EF4-FFF2-40B4-BE49-F238E27FC236}">
                  <a16:creationId xmlns:a16="http://schemas.microsoft.com/office/drawing/2014/main" id="{BC355CAF-9149-4430-5F74-6D47273A22F1}"/>
                </a:ext>
              </a:extLst>
            </p:cNvPr>
            <p:cNvGrpSpPr/>
            <p:nvPr/>
          </p:nvGrpSpPr>
          <p:grpSpPr>
            <a:xfrm>
              <a:off x="6127966" y="2279088"/>
              <a:ext cx="1341045" cy="1341044"/>
              <a:chOff x="6127966" y="2279088"/>
              <a:chExt cx="1341045" cy="1341044"/>
            </a:xfrm>
          </p:grpSpPr>
          <p:sp>
            <p:nvSpPr>
              <p:cNvPr id="11" name="Freeform: Shape 6">
                <a:extLst>
                  <a:ext uri="{FF2B5EF4-FFF2-40B4-BE49-F238E27FC236}">
                    <a16:creationId xmlns:a16="http://schemas.microsoft.com/office/drawing/2014/main" id="{64860B08-EBC3-8A06-FA4A-927C3C8CB6D4}"/>
                  </a:ext>
                </a:extLst>
              </p:cNvPr>
              <p:cNvSpPr/>
              <p:nvPr/>
            </p:nvSpPr>
            <p:spPr>
              <a:xfrm>
                <a:off x="6127966" y="2279088"/>
                <a:ext cx="1341045" cy="1341044"/>
              </a:xfrm>
              <a:custGeom>
                <a:avLst/>
                <a:gdLst>
                  <a:gd name="connsiteX0" fmla="*/ 1424737 w 3348729"/>
                  <a:gd name="connsiteY0" fmla="*/ 3350087 h 3348729"/>
                  <a:gd name="connsiteX1" fmla="*/ 3350087 w 3348729"/>
                  <a:gd name="connsiteY1" fmla="*/ 3350087 h 3348729"/>
                  <a:gd name="connsiteX2" fmla="*/ 0 w 3348729"/>
                  <a:gd name="connsiteY2" fmla="*/ 0 h 3348729"/>
                  <a:gd name="connsiteX3" fmla="*/ 0 w 3348729"/>
                  <a:gd name="connsiteY3" fmla="*/ 1925350 h 3348729"/>
                  <a:gd name="connsiteX4" fmla="*/ 1424737 w 3348729"/>
                  <a:gd name="connsiteY4" fmla="*/ 3350087 h 3348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8729" h="3348729">
                    <a:moveTo>
                      <a:pt x="1424737" y="3350087"/>
                    </a:moveTo>
                    <a:lnTo>
                      <a:pt x="3350087" y="3350087"/>
                    </a:lnTo>
                    <a:cubicBezTo>
                      <a:pt x="3308708" y="1518573"/>
                      <a:pt x="1831514" y="41379"/>
                      <a:pt x="0" y="0"/>
                    </a:cubicBezTo>
                    <a:lnTo>
                      <a:pt x="0" y="1925350"/>
                    </a:lnTo>
                    <a:cubicBezTo>
                      <a:pt x="768783" y="1965146"/>
                      <a:pt x="1384941" y="2581303"/>
                      <a:pt x="1424737" y="3350087"/>
                    </a:cubicBezTo>
                    <a:close/>
                  </a:path>
                </a:pathLst>
              </a:custGeom>
              <a:solidFill>
                <a:schemeClr val="accent1"/>
              </a:solidFill>
              <a:ln w="2261" cap="flat">
                <a:noFill/>
                <a:prstDash val="solid"/>
                <a:miter/>
              </a:ln>
            </p:spPr>
            <p:txBody>
              <a:bodyPr rtlCol="0" anchor="ctr">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sz="1400"/>
              </a:p>
            </p:txBody>
          </p:sp>
          <p:pic>
            <p:nvPicPr>
              <p:cNvPr id="12" name="Grafik 11" descr="Chat kontur">
                <a:extLst>
                  <a:ext uri="{FF2B5EF4-FFF2-40B4-BE49-F238E27FC236}">
                    <a16:creationId xmlns:a16="http://schemas.microsoft.com/office/drawing/2014/main" id="{C906CE99-3777-22E6-D971-0C021543649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534360" y="2717549"/>
                <a:ext cx="548805" cy="548805"/>
              </a:xfrm>
              <a:prstGeom prst="rect">
                <a:avLst/>
              </a:prstGeom>
            </p:spPr>
          </p:pic>
        </p:grpSp>
        <p:sp>
          <p:nvSpPr>
            <p:cNvPr id="14" name="Freeform: Shape 7">
              <a:extLst>
                <a:ext uri="{FF2B5EF4-FFF2-40B4-BE49-F238E27FC236}">
                  <a16:creationId xmlns:a16="http://schemas.microsoft.com/office/drawing/2014/main" id="{BF06DAEC-1B2B-7620-1232-4542D8F3E8DB}"/>
                </a:ext>
              </a:extLst>
            </p:cNvPr>
            <p:cNvSpPr/>
            <p:nvPr/>
          </p:nvSpPr>
          <p:spPr>
            <a:xfrm>
              <a:off x="4722993" y="2279088"/>
              <a:ext cx="1341045" cy="1341044"/>
            </a:xfrm>
            <a:custGeom>
              <a:avLst/>
              <a:gdLst>
                <a:gd name="connsiteX0" fmla="*/ 3350087 w 3348729"/>
                <a:gd name="connsiteY0" fmla="*/ 1925350 h 3348729"/>
                <a:gd name="connsiteX1" fmla="*/ 3350087 w 3348729"/>
                <a:gd name="connsiteY1" fmla="*/ 0 h 3348729"/>
                <a:gd name="connsiteX2" fmla="*/ 0 w 3348729"/>
                <a:gd name="connsiteY2" fmla="*/ 3350087 h 3348729"/>
                <a:gd name="connsiteX3" fmla="*/ 1925350 w 3348729"/>
                <a:gd name="connsiteY3" fmla="*/ 3350087 h 3348729"/>
                <a:gd name="connsiteX4" fmla="*/ 3350087 w 3348729"/>
                <a:gd name="connsiteY4" fmla="*/ 1925350 h 3348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8729" h="3348729">
                  <a:moveTo>
                    <a:pt x="3350087" y="1925350"/>
                  </a:moveTo>
                  <a:lnTo>
                    <a:pt x="3350087" y="0"/>
                  </a:lnTo>
                  <a:cubicBezTo>
                    <a:pt x="1518573" y="41379"/>
                    <a:pt x="41379" y="1518573"/>
                    <a:pt x="0" y="3350087"/>
                  </a:cubicBezTo>
                  <a:lnTo>
                    <a:pt x="1925350" y="3350087"/>
                  </a:lnTo>
                  <a:cubicBezTo>
                    <a:pt x="1965146" y="2581303"/>
                    <a:pt x="2581303" y="1965146"/>
                    <a:pt x="3350087" y="1925350"/>
                  </a:cubicBezTo>
                  <a:close/>
                </a:path>
              </a:pathLst>
            </a:custGeom>
            <a:solidFill>
              <a:schemeClr val="accent1"/>
            </a:solidFill>
            <a:ln w="2261" cap="flat">
              <a:noFill/>
              <a:prstDash val="solid"/>
              <a:miter/>
            </a:ln>
          </p:spPr>
          <p:txBody>
            <a:bodyPr rtlCol="0" anchor="ctr">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sz="1400"/>
            </a:p>
          </p:txBody>
        </p:sp>
        <p:pic>
          <p:nvPicPr>
            <p:cNvPr id="16" name="Grafik 15" descr="Årsag og virkning kontur">
              <a:extLst>
                <a:ext uri="{FF2B5EF4-FFF2-40B4-BE49-F238E27FC236}">
                  <a16:creationId xmlns:a16="http://schemas.microsoft.com/office/drawing/2014/main" id="{6FCEA80A-4272-5D38-FDDC-92FD7FBBBB8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179864" y="2751836"/>
              <a:ext cx="489166" cy="489166"/>
            </a:xfrm>
            <a:prstGeom prst="rect">
              <a:avLst/>
            </a:prstGeom>
          </p:spPr>
        </p:pic>
        <p:sp>
          <p:nvSpPr>
            <p:cNvPr id="18" name="Freeform: Shape 4">
              <a:extLst>
                <a:ext uri="{FF2B5EF4-FFF2-40B4-BE49-F238E27FC236}">
                  <a16:creationId xmlns:a16="http://schemas.microsoft.com/office/drawing/2014/main" id="{DA87A7B0-4209-0C84-1084-0668BACC8AD6}"/>
                </a:ext>
              </a:extLst>
            </p:cNvPr>
            <p:cNvSpPr/>
            <p:nvPr/>
          </p:nvSpPr>
          <p:spPr>
            <a:xfrm>
              <a:off x="4722993" y="3684061"/>
              <a:ext cx="1341045" cy="1341044"/>
            </a:xfrm>
            <a:custGeom>
              <a:avLst/>
              <a:gdLst>
                <a:gd name="connsiteX0" fmla="*/ 1925350 w 3348729"/>
                <a:gd name="connsiteY0" fmla="*/ 0 h 3348729"/>
                <a:gd name="connsiteX1" fmla="*/ 0 w 3348729"/>
                <a:gd name="connsiteY1" fmla="*/ 0 h 3348729"/>
                <a:gd name="connsiteX2" fmla="*/ 3350087 w 3348729"/>
                <a:gd name="connsiteY2" fmla="*/ 3350087 h 3348729"/>
                <a:gd name="connsiteX3" fmla="*/ 3350087 w 3348729"/>
                <a:gd name="connsiteY3" fmla="*/ 1424737 h 3348729"/>
                <a:gd name="connsiteX4" fmla="*/ 1925350 w 3348729"/>
                <a:gd name="connsiteY4" fmla="*/ 0 h 3348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8729" h="3348729">
                  <a:moveTo>
                    <a:pt x="1925350" y="0"/>
                  </a:moveTo>
                  <a:lnTo>
                    <a:pt x="0" y="0"/>
                  </a:lnTo>
                  <a:cubicBezTo>
                    <a:pt x="41379" y="1831514"/>
                    <a:pt x="1518573" y="3308708"/>
                    <a:pt x="3350087" y="3350087"/>
                  </a:cubicBezTo>
                  <a:lnTo>
                    <a:pt x="3350087" y="1424737"/>
                  </a:lnTo>
                  <a:cubicBezTo>
                    <a:pt x="2581303" y="1384941"/>
                    <a:pt x="1965146" y="768783"/>
                    <a:pt x="1925350" y="0"/>
                  </a:cubicBezTo>
                  <a:close/>
                </a:path>
              </a:pathLst>
            </a:custGeom>
            <a:solidFill>
              <a:schemeClr val="accent1"/>
            </a:solidFill>
            <a:ln w="2261" cap="flat">
              <a:noFill/>
              <a:prstDash val="solid"/>
              <a:miter/>
            </a:ln>
          </p:spPr>
          <p:txBody>
            <a:bodyPr rtlCol="0" anchor="ctr">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sz="1400" dirty="0"/>
            </a:p>
          </p:txBody>
        </p:sp>
        <p:pic>
          <p:nvPicPr>
            <p:cNvPr id="20" name="Grafik 19" descr="Dokument kontur">
              <a:extLst>
                <a:ext uri="{FF2B5EF4-FFF2-40B4-BE49-F238E27FC236}">
                  <a16:creationId xmlns:a16="http://schemas.microsoft.com/office/drawing/2014/main" id="{CFDCF2D5-9DF0-2A11-483D-42A50BB0276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227983" y="4131960"/>
              <a:ext cx="441047" cy="441047"/>
            </a:xfrm>
            <a:prstGeom prst="rect">
              <a:avLst/>
            </a:prstGeom>
          </p:spPr>
        </p:pic>
        <p:sp>
          <p:nvSpPr>
            <p:cNvPr id="22" name="Freeform: Shape 5">
              <a:extLst>
                <a:ext uri="{FF2B5EF4-FFF2-40B4-BE49-F238E27FC236}">
                  <a16:creationId xmlns:a16="http://schemas.microsoft.com/office/drawing/2014/main" id="{7DC23A4E-62F6-558C-449F-8BBDE6351CC9}"/>
                </a:ext>
              </a:extLst>
            </p:cNvPr>
            <p:cNvSpPr/>
            <p:nvPr/>
          </p:nvSpPr>
          <p:spPr>
            <a:xfrm>
              <a:off x="6127966" y="3684061"/>
              <a:ext cx="1341045" cy="1341044"/>
            </a:xfrm>
            <a:custGeom>
              <a:avLst/>
              <a:gdLst>
                <a:gd name="connsiteX0" fmla="*/ 0 w 3348729"/>
                <a:gd name="connsiteY0" fmla="*/ 1424737 h 3348729"/>
                <a:gd name="connsiteX1" fmla="*/ 0 w 3348729"/>
                <a:gd name="connsiteY1" fmla="*/ 3350087 h 3348729"/>
                <a:gd name="connsiteX2" fmla="*/ 3350087 w 3348729"/>
                <a:gd name="connsiteY2" fmla="*/ 0 h 3348729"/>
                <a:gd name="connsiteX3" fmla="*/ 1424737 w 3348729"/>
                <a:gd name="connsiteY3" fmla="*/ 0 h 3348729"/>
                <a:gd name="connsiteX4" fmla="*/ 0 w 3348729"/>
                <a:gd name="connsiteY4" fmla="*/ 1424737 h 33487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48729" h="3348729">
                  <a:moveTo>
                    <a:pt x="0" y="1424737"/>
                  </a:moveTo>
                  <a:lnTo>
                    <a:pt x="0" y="3350087"/>
                  </a:lnTo>
                  <a:cubicBezTo>
                    <a:pt x="1831514" y="3308708"/>
                    <a:pt x="3308708" y="1831514"/>
                    <a:pt x="3350087" y="0"/>
                  </a:cubicBezTo>
                  <a:lnTo>
                    <a:pt x="1424737" y="0"/>
                  </a:lnTo>
                  <a:cubicBezTo>
                    <a:pt x="1384941" y="768783"/>
                    <a:pt x="768783" y="1384941"/>
                    <a:pt x="0" y="1424737"/>
                  </a:cubicBezTo>
                  <a:close/>
                </a:path>
              </a:pathLst>
            </a:custGeom>
            <a:solidFill>
              <a:schemeClr val="accent1"/>
            </a:solidFill>
            <a:ln w="2261" cap="flat">
              <a:noFill/>
              <a:prstDash val="solid"/>
              <a:miter/>
            </a:ln>
          </p:spPr>
          <p:txBody>
            <a:bodyPr rtlCol="0" anchor="ctr">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sz="1400" dirty="0"/>
            </a:p>
          </p:txBody>
        </p:sp>
        <p:pic>
          <p:nvPicPr>
            <p:cNvPr id="24" name="Grafik 23" descr="Lommeregner kontur">
              <a:extLst>
                <a:ext uri="{FF2B5EF4-FFF2-40B4-BE49-F238E27FC236}">
                  <a16:creationId xmlns:a16="http://schemas.microsoft.com/office/drawing/2014/main" id="{00363B28-D325-F738-B021-9C185682A9B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529101" y="4101768"/>
              <a:ext cx="457200" cy="457200"/>
            </a:xfrm>
            <a:prstGeom prst="rect">
              <a:avLst/>
            </a:prstGeom>
          </p:spPr>
        </p:pic>
      </p:grpSp>
      <p:sp>
        <p:nvSpPr>
          <p:cNvPr id="26" name="Tekstfelt 25">
            <a:extLst>
              <a:ext uri="{FF2B5EF4-FFF2-40B4-BE49-F238E27FC236}">
                <a16:creationId xmlns:a16="http://schemas.microsoft.com/office/drawing/2014/main" id="{A717CF1F-79E1-C30E-1ADB-E54036C85D06}"/>
              </a:ext>
            </a:extLst>
          </p:cNvPr>
          <p:cNvSpPr txBox="1"/>
          <p:nvPr/>
        </p:nvSpPr>
        <p:spPr>
          <a:xfrm>
            <a:off x="4371560" y="4023540"/>
            <a:ext cx="6520070" cy="738664"/>
          </a:xfrm>
          <a:prstGeom prst="rect">
            <a:avLst/>
          </a:prstGeom>
          <a:noFill/>
        </p:spPr>
        <p:txBody>
          <a:bodyPr wrap="square" rtlCol="0">
            <a:spAutoFit/>
          </a:bodyPr>
          <a:lstStyle/>
          <a:p>
            <a:r>
              <a:rPr lang="da-DK" sz="1400" b="1" dirty="0">
                <a:solidFill>
                  <a:schemeClr val="tx1"/>
                </a:solidFill>
              </a:rPr>
              <a:t>Og husk: bare fordi der indgår tal, </a:t>
            </a:r>
          </a:p>
          <a:p>
            <a:r>
              <a:rPr lang="da-DK" sz="1400" b="1" dirty="0">
                <a:solidFill>
                  <a:schemeClr val="tx2">
                    <a:lumMod val="75000"/>
                  </a:schemeClr>
                </a:solidFill>
              </a:rPr>
              <a:t>behøver det ikke nødvendigvis </a:t>
            </a:r>
          </a:p>
          <a:p>
            <a:r>
              <a:rPr lang="da-DK" sz="1400" b="1" dirty="0">
                <a:solidFill>
                  <a:schemeClr val="tx1"/>
                </a:solidFill>
              </a:rPr>
              <a:t>være kassererens ansvar </a:t>
            </a:r>
            <a:r>
              <a:rPr lang="da-DK" sz="1400" dirty="0">
                <a:solidFill>
                  <a:schemeClr val="tx1"/>
                </a:solidFill>
              </a:rPr>
              <a:t>😉</a:t>
            </a:r>
          </a:p>
        </p:txBody>
      </p:sp>
    </p:spTree>
    <p:extLst>
      <p:ext uri="{BB962C8B-B14F-4D97-AF65-F5344CB8AC3E}">
        <p14:creationId xmlns:p14="http://schemas.microsoft.com/office/powerpoint/2010/main" val="2302459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 calcmode="lin" valueType="num">
                                      <p:cBhvr additive="base">
                                        <p:cTn id="7" dur="500" fill="hold"/>
                                        <p:tgtEl>
                                          <p:spTgt spid="26"/>
                                        </p:tgtEl>
                                        <p:attrNameLst>
                                          <p:attrName>ppt_x</p:attrName>
                                        </p:attrNameLst>
                                      </p:cBhvr>
                                      <p:tavLst>
                                        <p:tav tm="0">
                                          <p:val>
                                            <p:strVal val="#ppt_x"/>
                                          </p:val>
                                        </p:tav>
                                        <p:tav tm="100000">
                                          <p:val>
                                            <p:strVal val="#ppt_x"/>
                                          </p:val>
                                        </p:tav>
                                      </p:tavLst>
                                    </p:anim>
                                    <p:anim calcmode="lin" valueType="num">
                                      <p:cBhvr additive="base">
                                        <p:cTn id="8" dur="500" fill="hold"/>
                                        <p:tgtEl>
                                          <p:spTgt spid="2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3" name="think-cell data - do not delete" hidden="1">
            <a:extLst>
              <a:ext uri="{FF2B5EF4-FFF2-40B4-BE49-F238E27FC236}">
                <a16:creationId xmlns:a16="http://schemas.microsoft.com/office/drawing/2014/main" id="{93B7C840-ED20-9880-DCEA-292B8CC346C6}"/>
              </a:ext>
            </a:extLst>
          </p:cNvPr>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123" name="think-cell data - do not delete" hidden="1">
                        <a:extLst>
                          <a:ext uri="{FF2B5EF4-FFF2-40B4-BE49-F238E27FC236}">
                            <a16:creationId xmlns:a16="http://schemas.microsoft.com/office/drawing/2014/main" id="{93B7C840-ED20-9880-DCEA-292B8CC346C6}"/>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grpSp>
        <p:nvGrpSpPr>
          <p:cNvPr id="127" name="Group 126">
            <a:extLst>
              <a:ext uri="{FF2B5EF4-FFF2-40B4-BE49-F238E27FC236}">
                <a16:creationId xmlns:a16="http://schemas.microsoft.com/office/drawing/2014/main" id="{9AD17431-03F4-340F-E3B8-D37A659322FD}"/>
              </a:ext>
            </a:extLst>
          </p:cNvPr>
          <p:cNvGrpSpPr/>
          <p:nvPr/>
        </p:nvGrpSpPr>
        <p:grpSpPr>
          <a:xfrm>
            <a:off x="1633713" y="-1"/>
            <a:ext cx="10558286" cy="6858001"/>
            <a:chOff x="0" y="-1"/>
            <a:chExt cx="10558286" cy="6858001"/>
          </a:xfrm>
        </p:grpSpPr>
        <p:sp>
          <p:nvSpPr>
            <p:cNvPr id="125" name="Rectangle 124">
              <a:extLst>
                <a:ext uri="{FF2B5EF4-FFF2-40B4-BE49-F238E27FC236}">
                  <a16:creationId xmlns:a16="http://schemas.microsoft.com/office/drawing/2014/main" id="{B6C0B769-40F4-8FF8-89C9-FFAC9B904375}"/>
                </a:ext>
              </a:extLst>
            </p:cNvPr>
            <p:cNvSpPr/>
            <p:nvPr/>
          </p:nvSpPr>
          <p:spPr>
            <a:xfrm>
              <a:off x="5498669" y="0"/>
              <a:ext cx="5059617"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defRPr>
              </a:lvl1pPr>
              <a:lvl2pPr marL="457200" algn="l" defTabSz="914400" rtl="0" eaLnBrk="1" latinLnBrk="0" hangingPunct="1">
                <a:defRPr sz="1800" kern="1200">
                  <a:solidFill>
                    <a:srgbClr val="FFFFFF"/>
                  </a:solidFill>
                </a:defRPr>
              </a:lvl2pPr>
              <a:lvl3pPr marL="914400" algn="l" defTabSz="914400" rtl="0" eaLnBrk="1" latinLnBrk="0" hangingPunct="1">
                <a:defRPr sz="1800" kern="1200">
                  <a:solidFill>
                    <a:srgbClr val="FFFFFF"/>
                  </a:solidFill>
                </a:defRPr>
              </a:lvl3pPr>
              <a:lvl4pPr marL="1371600" algn="l" defTabSz="914400" rtl="0" eaLnBrk="1" latinLnBrk="0" hangingPunct="1">
                <a:defRPr sz="1800" kern="1200">
                  <a:solidFill>
                    <a:srgbClr val="FFFFFF"/>
                  </a:solidFill>
                </a:defRPr>
              </a:lvl4pPr>
              <a:lvl5pPr marL="1828800" algn="l" defTabSz="914400" rtl="0" eaLnBrk="1" latinLnBrk="0" hangingPunct="1">
                <a:defRPr sz="1800" kern="1200">
                  <a:solidFill>
                    <a:srgbClr val="FFFFFF"/>
                  </a:solidFill>
                </a:defRPr>
              </a:lvl5pPr>
              <a:lvl6pPr marL="2286000" algn="l" defTabSz="914400" rtl="0" eaLnBrk="1" latinLnBrk="0" hangingPunct="1">
                <a:defRPr sz="1800" kern="1200">
                  <a:solidFill>
                    <a:srgbClr val="FFFFFF"/>
                  </a:solidFill>
                </a:defRPr>
              </a:lvl6pPr>
              <a:lvl7pPr marL="2743200" algn="l" defTabSz="914400" rtl="0" eaLnBrk="1" latinLnBrk="0" hangingPunct="1">
                <a:defRPr sz="1800" kern="1200">
                  <a:solidFill>
                    <a:srgbClr val="FFFFFF"/>
                  </a:solidFill>
                </a:defRPr>
              </a:lvl7pPr>
              <a:lvl8pPr marL="3200400" algn="l" defTabSz="914400" rtl="0" eaLnBrk="1" latinLnBrk="0" hangingPunct="1">
                <a:defRPr sz="1800" kern="1200">
                  <a:solidFill>
                    <a:srgbClr val="FFFFFF"/>
                  </a:solidFill>
                </a:defRPr>
              </a:lvl8pPr>
              <a:lvl9pPr marL="3657600" algn="l" defTabSz="914400" rtl="0" eaLnBrk="1" latinLnBrk="0" hangingPunct="1">
                <a:defRPr sz="1800" kern="1200">
                  <a:solidFill>
                    <a:srgbClr val="FFFFFF"/>
                  </a:solidFill>
                </a:defRPr>
              </a:lvl9pPr>
            </a:lstStyle>
            <a:p>
              <a:pPr algn="ctr"/>
              <a:endParaRPr lang="en-US"/>
            </a:p>
          </p:txBody>
        </p:sp>
        <p:sp>
          <p:nvSpPr>
            <p:cNvPr id="126" name="Isosceles Triangle 125">
              <a:extLst>
                <a:ext uri="{FF2B5EF4-FFF2-40B4-BE49-F238E27FC236}">
                  <a16:creationId xmlns:a16="http://schemas.microsoft.com/office/drawing/2014/main" id="{AF0E36FA-AA5F-0B93-7337-CA07E95510C9}"/>
                </a:ext>
              </a:extLst>
            </p:cNvPr>
            <p:cNvSpPr/>
            <p:nvPr/>
          </p:nvSpPr>
          <p:spPr>
            <a:xfrm>
              <a:off x="0" y="-1"/>
              <a:ext cx="5502445" cy="6858001"/>
            </a:xfrm>
            <a:prstGeom prst="triangle">
              <a:avLst>
                <a:gd name="adj" fmla="val 10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defRPr>
              </a:lvl1pPr>
              <a:lvl2pPr marL="457200" algn="l" defTabSz="914400" rtl="0" eaLnBrk="1" latinLnBrk="0" hangingPunct="1">
                <a:defRPr sz="1800" kern="1200">
                  <a:solidFill>
                    <a:srgbClr val="FFFFFF"/>
                  </a:solidFill>
                </a:defRPr>
              </a:lvl2pPr>
              <a:lvl3pPr marL="914400" algn="l" defTabSz="914400" rtl="0" eaLnBrk="1" latinLnBrk="0" hangingPunct="1">
                <a:defRPr sz="1800" kern="1200">
                  <a:solidFill>
                    <a:srgbClr val="FFFFFF"/>
                  </a:solidFill>
                </a:defRPr>
              </a:lvl3pPr>
              <a:lvl4pPr marL="1371600" algn="l" defTabSz="914400" rtl="0" eaLnBrk="1" latinLnBrk="0" hangingPunct="1">
                <a:defRPr sz="1800" kern="1200">
                  <a:solidFill>
                    <a:srgbClr val="FFFFFF"/>
                  </a:solidFill>
                </a:defRPr>
              </a:lvl4pPr>
              <a:lvl5pPr marL="1828800" algn="l" defTabSz="914400" rtl="0" eaLnBrk="1" latinLnBrk="0" hangingPunct="1">
                <a:defRPr sz="1800" kern="1200">
                  <a:solidFill>
                    <a:srgbClr val="FFFFFF"/>
                  </a:solidFill>
                </a:defRPr>
              </a:lvl5pPr>
              <a:lvl6pPr marL="2286000" algn="l" defTabSz="914400" rtl="0" eaLnBrk="1" latinLnBrk="0" hangingPunct="1">
                <a:defRPr sz="1800" kern="1200">
                  <a:solidFill>
                    <a:srgbClr val="FFFFFF"/>
                  </a:solidFill>
                </a:defRPr>
              </a:lvl6pPr>
              <a:lvl7pPr marL="2743200" algn="l" defTabSz="914400" rtl="0" eaLnBrk="1" latinLnBrk="0" hangingPunct="1">
                <a:defRPr sz="1800" kern="1200">
                  <a:solidFill>
                    <a:srgbClr val="FFFFFF"/>
                  </a:solidFill>
                </a:defRPr>
              </a:lvl7pPr>
              <a:lvl8pPr marL="3200400" algn="l" defTabSz="914400" rtl="0" eaLnBrk="1" latinLnBrk="0" hangingPunct="1">
                <a:defRPr sz="1800" kern="1200">
                  <a:solidFill>
                    <a:srgbClr val="FFFFFF"/>
                  </a:solidFill>
                </a:defRPr>
              </a:lvl8pPr>
              <a:lvl9pPr marL="3657600" algn="l" defTabSz="914400" rtl="0" eaLnBrk="1" latinLnBrk="0" hangingPunct="1">
                <a:defRPr sz="1800" kern="1200">
                  <a:solidFill>
                    <a:srgbClr val="FFFFFF"/>
                  </a:solidFill>
                </a:defRPr>
              </a:lvl9pPr>
            </a:lstStyle>
            <a:p>
              <a:pPr algn="ctr"/>
              <a:endParaRPr lang="en-US"/>
            </a:p>
          </p:txBody>
        </p:sp>
      </p:grpSp>
      <p:grpSp>
        <p:nvGrpSpPr>
          <p:cNvPr id="128" name="Group 127">
            <a:extLst>
              <a:ext uri="{FF2B5EF4-FFF2-40B4-BE49-F238E27FC236}">
                <a16:creationId xmlns:a16="http://schemas.microsoft.com/office/drawing/2014/main" id="{DE2858CC-EA90-CA7C-728A-4D7EAAD31C20}"/>
              </a:ext>
            </a:extLst>
          </p:cNvPr>
          <p:cNvGrpSpPr/>
          <p:nvPr/>
        </p:nvGrpSpPr>
        <p:grpSpPr>
          <a:xfrm>
            <a:off x="5003448" y="1384162"/>
            <a:ext cx="6350352" cy="4899025"/>
            <a:chOff x="1227490" y="1158874"/>
            <a:chExt cx="6350352" cy="4899025"/>
          </a:xfrm>
        </p:grpSpPr>
        <p:sp>
          <p:nvSpPr>
            <p:cNvPr id="5" name="Freeform: Shape 4">
              <a:extLst>
                <a:ext uri="{FF2B5EF4-FFF2-40B4-BE49-F238E27FC236}">
                  <a16:creationId xmlns:a16="http://schemas.microsoft.com/office/drawing/2014/main" id="{48D5AD20-EF25-904B-0EB6-0CC357688AF3}"/>
                </a:ext>
              </a:extLst>
            </p:cNvPr>
            <p:cNvSpPr/>
            <p:nvPr/>
          </p:nvSpPr>
          <p:spPr>
            <a:xfrm>
              <a:off x="1227490" y="6016478"/>
              <a:ext cx="6350352" cy="41421"/>
            </a:xfrm>
            <a:custGeom>
              <a:avLst/>
              <a:gdLst>
                <a:gd name="connsiteX0" fmla="*/ 8862991 w 8892015"/>
                <a:gd name="connsiteY0" fmla="*/ 0 h 58000"/>
                <a:gd name="connsiteX1" fmla="*/ 29992 w 8892015"/>
                <a:gd name="connsiteY1" fmla="*/ 0 h 58000"/>
                <a:gd name="connsiteX2" fmla="*/ 63 w 8892015"/>
                <a:gd name="connsiteY2" fmla="*/ 27070 h 58000"/>
                <a:gd name="connsiteX3" fmla="*/ 28991 w 8892015"/>
                <a:gd name="connsiteY3" fmla="*/ 58000 h 58000"/>
                <a:gd name="connsiteX4" fmla="*/ 8862991 w 8892015"/>
                <a:gd name="connsiteY4" fmla="*/ 58000 h 58000"/>
                <a:gd name="connsiteX5" fmla="*/ 8892016 w 8892015"/>
                <a:gd name="connsiteY5" fmla="*/ 29024 h 58000"/>
                <a:gd name="connsiteX6" fmla="*/ 8892016 w 8892015"/>
                <a:gd name="connsiteY6" fmla="*/ 29024 h 58000"/>
                <a:gd name="connsiteX7" fmla="*/ 8862991 w 8892015"/>
                <a:gd name="connsiteY7" fmla="*/ 0 h 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92015" h="58000">
                  <a:moveTo>
                    <a:pt x="8862991" y="0"/>
                  </a:moveTo>
                  <a:lnTo>
                    <a:pt x="29992" y="0"/>
                  </a:lnTo>
                  <a:cubicBezTo>
                    <a:pt x="14551" y="0"/>
                    <a:pt x="1064" y="11677"/>
                    <a:pt x="63" y="27070"/>
                  </a:cubicBezTo>
                  <a:cubicBezTo>
                    <a:pt x="-1033" y="43941"/>
                    <a:pt x="12359" y="58000"/>
                    <a:pt x="28991" y="58000"/>
                  </a:cubicBezTo>
                  <a:lnTo>
                    <a:pt x="8862991" y="58000"/>
                  </a:lnTo>
                  <a:cubicBezTo>
                    <a:pt x="8879005" y="58000"/>
                    <a:pt x="8892016" y="45037"/>
                    <a:pt x="8892016" y="29024"/>
                  </a:cubicBezTo>
                  <a:lnTo>
                    <a:pt x="8892016" y="29024"/>
                  </a:lnTo>
                  <a:cubicBezTo>
                    <a:pt x="8892016" y="12963"/>
                    <a:pt x="8879005" y="0"/>
                    <a:pt x="8862991" y="0"/>
                  </a:cubicBezTo>
                  <a:close/>
                </a:path>
              </a:pathLst>
            </a:custGeom>
            <a:solidFill>
              <a:schemeClr val="accent1">
                <a:lumMod val="75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grpSp>
          <p:nvGrpSpPr>
            <p:cNvPr id="6" name="Graphic 2">
              <a:extLst>
                <a:ext uri="{FF2B5EF4-FFF2-40B4-BE49-F238E27FC236}">
                  <a16:creationId xmlns:a16="http://schemas.microsoft.com/office/drawing/2014/main" id="{E1FBE6C4-CC56-9707-AF7B-26782A91A667}"/>
                </a:ext>
              </a:extLst>
            </p:cNvPr>
            <p:cNvGrpSpPr/>
            <p:nvPr/>
          </p:nvGrpSpPr>
          <p:grpSpPr>
            <a:xfrm>
              <a:off x="3091045" y="1191434"/>
              <a:ext cx="688041" cy="877621"/>
              <a:chOff x="2734907" y="45592"/>
              <a:chExt cx="963423" cy="1228880"/>
            </a:xfrm>
          </p:grpSpPr>
          <p:sp>
            <p:nvSpPr>
              <p:cNvPr id="7" name="Freeform: Shape 6">
                <a:extLst>
                  <a:ext uri="{FF2B5EF4-FFF2-40B4-BE49-F238E27FC236}">
                    <a16:creationId xmlns:a16="http://schemas.microsoft.com/office/drawing/2014/main" id="{0B16B47F-BD21-2394-F7DC-6ECA4FC6938F}"/>
                  </a:ext>
                </a:extLst>
              </p:cNvPr>
              <p:cNvSpPr/>
              <p:nvPr/>
            </p:nvSpPr>
            <p:spPr>
              <a:xfrm>
                <a:off x="2746122" y="322264"/>
                <a:ext cx="952208" cy="952208"/>
              </a:xfrm>
              <a:custGeom>
                <a:avLst/>
                <a:gdLst>
                  <a:gd name="connsiteX0" fmla="*/ 952209 w 952208"/>
                  <a:gd name="connsiteY0" fmla="*/ 476104 h 952208"/>
                  <a:gd name="connsiteX1" fmla="*/ 476104 w 952208"/>
                  <a:gd name="connsiteY1" fmla="*/ 952209 h 952208"/>
                  <a:gd name="connsiteX2" fmla="*/ 0 w 952208"/>
                  <a:gd name="connsiteY2" fmla="*/ 476104 h 952208"/>
                  <a:gd name="connsiteX3" fmla="*/ 476104 w 952208"/>
                  <a:gd name="connsiteY3" fmla="*/ 0 h 952208"/>
                  <a:gd name="connsiteX4" fmla="*/ 952209 w 952208"/>
                  <a:gd name="connsiteY4" fmla="*/ 476104 h 952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208" h="952208">
                    <a:moveTo>
                      <a:pt x="952209" y="476104"/>
                    </a:moveTo>
                    <a:cubicBezTo>
                      <a:pt x="952209" y="739050"/>
                      <a:pt x="739050" y="952209"/>
                      <a:pt x="476104" y="952209"/>
                    </a:cubicBezTo>
                    <a:cubicBezTo>
                      <a:pt x="213159" y="952209"/>
                      <a:pt x="0" y="739050"/>
                      <a:pt x="0" y="476104"/>
                    </a:cubicBezTo>
                    <a:cubicBezTo>
                      <a:pt x="0" y="213159"/>
                      <a:pt x="213159" y="0"/>
                      <a:pt x="476104" y="0"/>
                    </a:cubicBezTo>
                    <a:cubicBezTo>
                      <a:pt x="739049" y="0"/>
                      <a:pt x="952209" y="213159"/>
                      <a:pt x="952209" y="476104"/>
                    </a:cubicBezTo>
                    <a:close/>
                  </a:path>
                </a:pathLst>
              </a:custGeom>
              <a:solidFill>
                <a:schemeClr val="accent1">
                  <a:lumMod val="75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8" name="Freeform: Shape 7">
                <a:extLst>
                  <a:ext uri="{FF2B5EF4-FFF2-40B4-BE49-F238E27FC236}">
                    <a16:creationId xmlns:a16="http://schemas.microsoft.com/office/drawing/2014/main" id="{896E65A9-8586-0DA9-0D29-A048FB1D04D6}"/>
                  </a:ext>
                </a:extLst>
              </p:cNvPr>
              <p:cNvSpPr/>
              <p:nvPr/>
            </p:nvSpPr>
            <p:spPr>
              <a:xfrm>
                <a:off x="2758544" y="334685"/>
                <a:ext cx="927385" cy="927365"/>
              </a:xfrm>
              <a:custGeom>
                <a:avLst/>
                <a:gdLst>
                  <a:gd name="connsiteX0" fmla="*/ 642923 w 927383"/>
                  <a:gd name="connsiteY0" fmla="*/ 891318 h 927363"/>
                  <a:gd name="connsiteX1" fmla="*/ 36045 w 927383"/>
                  <a:gd name="connsiteY1" fmla="*/ 642924 h 927363"/>
                  <a:gd name="connsiteX2" fmla="*/ 284487 w 927383"/>
                  <a:gd name="connsiteY2" fmla="*/ 36046 h 927363"/>
                  <a:gd name="connsiteX3" fmla="*/ 891365 w 927383"/>
                  <a:gd name="connsiteY3" fmla="*/ 284440 h 927363"/>
                  <a:gd name="connsiteX4" fmla="*/ 642923 w 927383"/>
                  <a:gd name="connsiteY4" fmla="*/ 891318 h 9273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7383" h="927362">
                    <a:moveTo>
                      <a:pt x="642923" y="891318"/>
                    </a:moveTo>
                    <a:cubicBezTo>
                      <a:pt x="407111" y="990161"/>
                      <a:pt x="134888" y="878689"/>
                      <a:pt x="36045" y="642924"/>
                    </a:cubicBezTo>
                    <a:cubicBezTo>
                      <a:pt x="-62798" y="407112"/>
                      <a:pt x="48674" y="134889"/>
                      <a:pt x="284487" y="36046"/>
                    </a:cubicBezTo>
                    <a:cubicBezTo>
                      <a:pt x="520299" y="-62797"/>
                      <a:pt x="792522" y="48675"/>
                      <a:pt x="891365" y="284440"/>
                    </a:cubicBezTo>
                    <a:cubicBezTo>
                      <a:pt x="990160" y="520252"/>
                      <a:pt x="878688" y="792475"/>
                      <a:pt x="642923" y="891318"/>
                    </a:cubicBezTo>
                    <a:close/>
                  </a:path>
                </a:pathLst>
              </a:custGeom>
              <a:solidFill>
                <a:schemeClr val="accent1"/>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9" name="Freeform: Shape 8">
                <a:extLst>
                  <a:ext uri="{FF2B5EF4-FFF2-40B4-BE49-F238E27FC236}">
                    <a16:creationId xmlns:a16="http://schemas.microsoft.com/office/drawing/2014/main" id="{4CFDBE07-1CBD-9ECF-286B-4427FE8B016B}"/>
                  </a:ext>
                </a:extLst>
              </p:cNvPr>
              <p:cNvSpPr/>
              <p:nvPr/>
            </p:nvSpPr>
            <p:spPr>
              <a:xfrm rot="-3533684">
                <a:off x="2844270" y="421709"/>
                <a:ext cx="757269" cy="757269"/>
              </a:xfrm>
              <a:custGeom>
                <a:avLst/>
                <a:gdLst>
                  <a:gd name="connsiteX0" fmla="*/ 757270 w 757269"/>
                  <a:gd name="connsiteY0" fmla="*/ 378635 h 757269"/>
                  <a:gd name="connsiteX1" fmla="*/ 378635 w 757269"/>
                  <a:gd name="connsiteY1" fmla="*/ 757270 h 757269"/>
                  <a:gd name="connsiteX2" fmla="*/ 0 w 757269"/>
                  <a:gd name="connsiteY2" fmla="*/ 378635 h 757269"/>
                  <a:gd name="connsiteX3" fmla="*/ 378635 w 757269"/>
                  <a:gd name="connsiteY3" fmla="*/ 0 h 757269"/>
                  <a:gd name="connsiteX4" fmla="*/ 757270 w 757269"/>
                  <a:gd name="connsiteY4" fmla="*/ 378635 h 757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269" h="757269">
                    <a:moveTo>
                      <a:pt x="757270" y="378635"/>
                    </a:moveTo>
                    <a:cubicBezTo>
                      <a:pt x="757270" y="587749"/>
                      <a:pt x="587749" y="757270"/>
                      <a:pt x="378635" y="757270"/>
                    </a:cubicBezTo>
                    <a:cubicBezTo>
                      <a:pt x="169521" y="757270"/>
                      <a:pt x="0" y="587749"/>
                      <a:pt x="0" y="378635"/>
                    </a:cubicBezTo>
                    <a:cubicBezTo>
                      <a:pt x="0" y="169521"/>
                      <a:pt x="169521" y="0"/>
                      <a:pt x="378635" y="0"/>
                    </a:cubicBezTo>
                    <a:cubicBezTo>
                      <a:pt x="587749" y="0"/>
                      <a:pt x="757270" y="169521"/>
                      <a:pt x="757270" y="378635"/>
                    </a:cubicBezTo>
                    <a:close/>
                  </a:path>
                </a:pathLst>
              </a:custGeom>
              <a:solidFill>
                <a:srgbClr val="FFFFFF"/>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0" name="Freeform: Shape 9">
                <a:extLst>
                  <a:ext uri="{FF2B5EF4-FFF2-40B4-BE49-F238E27FC236}">
                    <a16:creationId xmlns:a16="http://schemas.microsoft.com/office/drawing/2014/main" id="{9A886018-193B-AD9A-8AA4-1D466A640A2B}"/>
                  </a:ext>
                </a:extLst>
              </p:cNvPr>
              <p:cNvSpPr/>
              <p:nvPr/>
            </p:nvSpPr>
            <p:spPr>
              <a:xfrm>
                <a:off x="2863394" y="439632"/>
                <a:ext cx="717854" cy="717854"/>
              </a:xfrm>
              <a:custGeom>
                <a:avLst/>
                <a:gdLst>
                  <a:gd name="connsiteX0" fmla="*/ 497660 w 717854"/>
                  <a:gd name="connsiteY0" fmla="*/ 689960 h 717854"/>
                  <a:gd name="connsiteX1" fmla="*/ 27894 w 717854"/>
                  <a:gd name="connsiteY1" fmla="*/ 497660 h 717854"/>
                  <a:gd name="connsiteX2" fmla="*/ 220194 w 717854"/>
                  <a:gd name="connsiteY2" fmla="*/ 27894 h 717854"/>
                  <a:gd name="connsiteX3" fmla="*/ 689960 w 717854"/>
                  <a:gd name="connsiteY3" fmla="*/ 220194 h 717854"/>
                  <a:gd name="connsiteX4" fmla="*/ 497660 w 717854"/>
                  <a:gd name="connsiteY4" fmla="*/ 689960 h 7178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7854" h="717854">
                    <a:moveTo>
                      <a:pt x="497660" y="689960"/>
                    </a:moveTo>
                    <a:cubicBezTo>
                      <a:pt x="315129" y="766451"/>
                      <a:pt x="104385" y="680190"/>
                      <a:pt x="27894" y="497660"/>
                    </a:cubicBezTo>
                    <a:cubicBezTo>
                      <a:pt x="-48597" y="315129"/>
                      <a:pt x="37664" y="104385"/>
                      <a:pt x="220194" y="27894"/>
                    </a:cubicBezTo>
                    <a:cubicBezTo>
                      <a:pt x="402725" y="-48597"/>
                      <a:pt x="613469" y="37664"/>
                      <a:pt x="689960" y="220194"/>
                    </a:cubicBezTo>
                    <a:cubicBezTo>
                      <a:pt x="766451" y="402725"/>
                      <a:pt x="680190" y="613469"/>
                      <a:pt x="497660" y="689960"/>
                    </a:cubicBezTo>
                    <a:close/>
                  </a:path>
                </a:pathLst>
              </a:custGeom>
              <a:solidFill>
                <a:schemeClr val="bg1"/>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grpSp>
            <p:nvGrpSpPr>
              <p:cNvPr id="11" name="Graphic 2">
                <a:extLst>
                  <a:ext uri="{FF2B5EF4-FFF2-40B4-BE49-F238E27FC236}">
                    <a16:creationId xmlns:a16="http://schemas.microsoft.com/office/drawing/2014/main" id="{02300733-442A-3872-0BED-1D787B876760}"/>
                  </a:ext>
                </a:extLst>
              </p:cNvPr>
              <p:cNvGrpSpPr/>
              <p:nvPr/>
            </p:nvGrpSpPr>
            <p:grpSpPr>
              <a:xfrm>
                <a:off x="2857386" y="433663"/>
                <a:ext cx="729824" cy="729784"/>
                <a:chOff x="2857386" y="433663"/>
                <a:chExt cx="729824" cy="729784"/>
              </a:xfrm>
            </p:grpSpPr>
            <p:sp>
              <p:nvSpPr>
                <p:cNvPr id="12" name="Freeform: Shape 11">
                  <a:extLst>
                    <a:ext uri="{FF2B5EF4-FFF2-40B4-BE49-F238E27FC236}">
                      <a16:creationId xmlns:a16="http://schemas.microsoft.com/office/drawing/2014/main" id="{CA9EE447-B92E-0888-FEB9-F0048A1C9789}"/>
                    </a:ext>
                  </a:extLst>
                </p:cNvPr>
                <p:cNvSpPr/>
                <p:nvPr/>
              </p:nvSpPr>
              <p:spPr>
                <a:xfrm>
                  <a:off x="2857386" y="899480"/>
                  <a:ext cx="97592" cy="63135"/>
                </a:xfrm>
                <a:custGeom>
                  <a:avLst/>
                  <a:gdLst>
                    <a:gd name="connsiteX0" fmla="*/ 71029 w 97592"/>
                    <a:gd name="connsiteY0" fmla="*/ 1495 h 63135"/>
                    <a:gd name="connsiteX1" fmla="*/ 11742 w 97592"/>
                    <a:gd name="connsiteY1" fmla="*/ 26325 h 63135"/>
                    <a:gd name="connsiteX2" fmla="*/ 1495 w 97592"/>
                    <a:gd name="connsiteY2" fmla="*/ 51393 h 63135"/>
                    <a:gd name="connsiteX3" fmla="*/ 26564 w 97592"/>
                    <a:gd name="connsiteY3" fmla="*/ 61640 h 63135"/>
                    <a:gd name="connsiteX4" fmla="*/ 85850 w 97592"/>
                    <a:gd name="connsiteY4" fmla="*/ 36810 h 63135"/>
                    <a:gd name="connsiteX5" fmla="*/ 96097 w 97592"/>
                    <a:gd name="connsiteY5" fmla="*/ 11742 h 63135"/>
                    <a:gd name="connsiteX6" fmla="*/ 71029 w 97592"/>
                    <a:gd name="connsiteY6" fmla="*/ 1495 h 63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592" h="63135">
                      <a:moveTo>
                        <a:pt x="71029" y="1495"/>
                      </a:moveTo>
                      <a:lnTo>
                        <a:pt x="11742" y="26325"/>
                      </a:lnTo>
                      <a:cubicBezTo>
                        <a:pt x="2020" y="30424"/>
                        <a:pt x="-2603" y="41624"/>
                        <a:pt x="1495" y="51393"/>
                      </a:cubicBezTo>
                      <a:cubicBezTo>
                        <a:pt x="5594" y="61116"/>
                        <a:pt x="16841" y="65738"/>
                        <a:pt x="26564" y="61640"/>
                      </a:cubicBezTo>
                      <a:lnTo>
                        <a:pt x="85850" y="36810"/>
                      </a:lnTo>
                      <a:cubicBezTo>
                        <a:pt x="95573" y="32711"/>
                        <a:pt x="100195" y="21464"/>
                        <a:pt x="96097" y="11742"/>
                      </a:cubicBezTo>
                      <a:cubicBezTo>
                        <a:pt x="91998" y="2020"/>
                        <a:pt x="80751" y="-2603"/>
                        <a:pt x="71029" y="1495"/>
                      </a:cubicBezTo>
                      <a:close/>
                    </a:path>
                  </a:pathLst>
                </a:custGeom>
                <a:solidFill>
                  <a:schemeClr val="accent1"/>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3" name="Freeform: Shape 12">
                  <a:extLst>
                    <a:ext uri="{FF2B5EF4-FFF2-40B4-BE49-F238E27FC236}">
                      <a16:creationId xmlns:a16="http://schemas.microsoft.com/office/drawing/2014/main" id="{679D2277-2775-9B66-0A0B-AF2F1FD83FB0}"/>
                    </a:ext>
                  </a:extLst>
                </p:cNvPr>
                <p:cNvSpPr/>
                <p:nvPr/>
              </p:nvSpPr>
              <p:spPr>
                <a:xfrm>
                  <a:off x="3323196" y="1065875"/>
                  <a:ext cx="63135" cy="97572"/>
                </a:xfrm>
                <a:custGeom>
                  <a:avLst/>
                  <a:gdLst>
                    <a:gd name="connsiteX0" fmla="*/ 11742 w 63135"/>
                    <a:gd name="connsiteY0" fmla="*/ 1475 h 97572"/>
                    <a:gd name="connsiteX1" fmla="*/ 1496 w 63135"/>
                    <a:gd name="connsiteY1" fmla="*/ 26544 h 97572"/>
                    <a:gd name="connsiteX2" fmla="*/ 26325 w 63135"/>
                    <a:gd name="connsiteY2" fmla="*/ 85830 h 97572"/>
                    <a:gd name="connsiteX3" fmla="*/ 51393 w 63135"/>
                    <a:gd name="connsiteY3" fmla="*/ 96077 h 97572"/>
                    <a:gd name="connsiteX4" fmla="*/ 61640 w 63135"/>
                    <a:gd name="connsiteY4" fmla="*/ 71009 h 97572"/>
                    <a:gd name="connsiteX5" fmla="*/ 36810 w 63135"/>
                    <a:gd name="connsiteY5" fmla="*/ 11722 h 97572"/>
                    <a:gd name="connsiteX6" fmla="*/ 11742 w 63135"/>
                    <a:gd name="connsiteY6" fmla="*/ 1475 h 97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135" h="97572">
                      <a:moveTo>
                        <a:pt x="11742" y="1475"/>
                      </a:moveTo>
                      <a:cubicBezTo>
                        <a:pt x="2020" y="5574"/>
                        <a:pt x="-2603" y="16774"/>
                        <a:pt x="1496" y="26544"/>
                      </a:cubicBezTo>
                      <a:lnTo>
                        <a:pt x="26325" y="85830"/>
                      </a:lnTo>
                      <a:cubicBezTo>
                        <a:pt x="30424" y="95552"/>
                        <a:pt x="41671" y="100175"/>
                        <a:pt x="51393" y="96077"/>
                      </a:cubicBezTo>
                      <a:cubicBezTo>
                        <a:pt x="61116" y="91978"/>
                        <a:pt x="65739" y="80778"/>
                        <a:pt x="61640" y="71009"/>
                      </a:cubicBezTo>
                      <a:lnTo>
                        <a:pt x="36810" y="11722"/>
                      </a:lnTo>
                      <a:cubicBezTo>
                        <a:pt x="32759" y="2000"/>
                        <a:pt x="21512" y="-2576"/>
                        <a:pt x="11742" y="1475"/>
                      </a:cubicBezTo>
                      <a:close/>
                    </a:path>
                  </a:pathLst>
                </a:custGeom>
                <a:solidFill>
                  <a:schemeClr val="accent1"/>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4" name="Freeform: Shape 13">
                  <a:extLst>
                    <a:ext uri="{FF2B5EF4-FFF2-40B4-BE49-F238E27FC236}">
                      <a16:creationId xmlns:a16="http://schemas.microsoft.com/office/drawing/2014/main" id="{B9B8D735-CAFE-1EDB-8C7E-B00A2DD738E1}"/>
                    </a:ext>
                  </a:extLst>
                </p:cNvPr>
                <p:cNvSpPr/>
                <p:nvPr/>
              </p:nvSpPr>
              <p:spPr>
                <a:xfrm>
                  <a:off x="3489618" y="634501"/>
                  <a:ext cx="97591" cy="63135"/>
                </a:xfrm>
                <a:custGeom>
                  <a:avLst/>
                  <a:gdLst>
                    <a:gd name="connsiteX0" fmla="*/ 71028 w 97591"/>
                    <a:gd name="connsiteY0" fmla="*/ 1495 h 63135"/>
                    <a:gd name="connsiteX1" fmla="*/ 11742 w 97591"/>
                    <a:gd name="connsiteY1" fmla="*/ 26325 h 63135"/>
                    <a:gd name="connsiteX2" fmla="*/ 1495 w 97591"/>
                    <a:gd name="connsiteY2" fmla="*/ 51393 h 63135"/>
                    <a:gd name="connsiteX3" fmla="*/ 26564 w 97591"/>
                    <a:gd name="connsiteY3" fmla="*/ 61640 h 63135"/>
                    <a:gd name="connsiteX4" fmla="*/ 85850 w 97591"/>
                    <a:gd name="connsiteY4" fmla="*/ 36810 h 63135"/>
                    <a:gd name="connsiteX5" fmla="*/ 96097 w 97591"/>
                    <a:gd name="connsiteY5" fmla="*/ 11742 h 63135"/>
                    <a:gd name="connsiteX6" fmla="*/ 71028 w 97591"/>
                    <a:gd name="connsiteY6" fmla="*/ 1495 h 63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591" h="63135">
                      <a:moveTo>
                        <a:pt x="71028" y="1495"/>
                      </a:moveTo>
                      <a:lnTo>
                        <a:pt x="11742" y="26325"/>
                      </a:lnTo>
                      <a:cubicBezTo>
                        <a:pt x="2020" y="30424"/>
                        <a:pt x="-2603" y="41671"/>
                        <a:pt x="1495" y="51393"/>
                      </a:cubicBezTo>
                      <a:cubicBezTo>
                        <a:pt x="5594" y="61116"/>
                        <a:pt x="16841" y="65738"/>
                        <a:pt x="26564" y="61640"/>
                      </a:cubicBezTo>
                      <a:lnTo>
                        <a:pt x="85850" y="36810"/>
                      </a:lnTo>
                      <a:cubicBezTo>
                        <a:pt x="95572" y="32711"/>
                        <a:pt x="100195" y="21512"/>
                        <a:pt x="96097" y="11742"/>
                      </a:cubicBezTo>
                      <a:cubicBezTo>
                        <a:pt x="91998" y="2020"/>
                        <a:pt x="80751" y="-2603"/>
                        <a:pt x="71028" y="1495"/>
                      </a:cubicBezTo>
                      <a:close/>
                    </a:path>
                  </a:pathLst>
                </a:custGeom>
                <a:solidFill>
                  <a:schemeClr val="accent1"/>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5" name="Freeform: Shape 14">
                  <a:extLst>
                    <a:ext uri="{FF2B5EF4-FFF2-40B4-BE49-F238E27FC236}">
                      <a16:creationId xmlns:a16="http://schemas.microsoft.com/office/drawing/2014/main" id="{B604E08F-B094-ACCC-8C18-A6557ABDF094}"/>
                    </a:ext>
                  </a:extLst>
                </p:cNvPr>
                <p:cNvSpPr/>
                <p:nvPr/>
              </p:nvSpPr>
              <p:spPr>
                <a:xfrm>
                  <a:off x="3058265" y="433663"/>
                  <a:ext cx="63135" cy="97551"/>
                </a:xfrm>
                <a:custGeom>
                  <a:avLst/>
                  <a:gdLst>
                    <a:gd name="connsiteX0" fmla="*/ 11742 w 63135"/>
                    <a:gd name="connsiteY0" fmla="*/ 1503 h 97551"/>
                    <a:gd name="connsiteX1" fmla="*/ 1495 w 63135"/>
                    <a:gd name="connsiteY1" fmla="*/ 26571 h 97551"/>
                    <a:gd name="connsiteX2" fmla="*/ 26325 w 63135"/>
                    <a:gd name="connsiteY2" fmla="*/ 85810 h 97551"/>
                    <a:gd name="connsiteX3" fmla="*/ 51393 w 63135"/>
                    <a:gd name="connsiteY3" fmla="*/ 96056 h 97551"/>
                    <a:gd name="connsiteX4" fmla="*/ 61640 w 63135"/>
                    <a:gd name="connsiteY4" fmla="*/ 70988 h 97551"/>
                    <a:gd name="connsiteX5" fmla="*/ 36810 w 63135"/>
                    <a:gd name="connsiteY5" fmla="*/ 11702 h 97551"/>
                    <a:gd name="connsiteX6" fmla="*/ 11742 w 63135"/>
                    <a:gd name="connsiteY6" fmla="*/ 1503 h 97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135" h="97551">
                      <a:moveTo>
                        <a:pt x="11742" y="1503"/>
                      </a:moveTo>
                      <a:cubicBezTo>
                        <a:pt x="2020" y="5601"/>
                        <a:pt x="-2603" y="16801"/>
                        <a:pt x="1495" y="26571"/>
                      </a:cubicBezTo>
                      <a:lnTo>
                        <a:pt x="26325" y="85810"/>
                      </a:lnTo>
                      <a:cubicBezTo>
                        <a:pt x="30424" y="95532"/>
                        <a:pt x="41671" y="100155"/>
                        <a:pt x="51393" y="96056"/>
                      </a:cubicBezTo>
                      <a:cubicBezTo>
                        <a:pt x="61116" y="91958"/>
                        <a:pt x="65738" y="80758"/>
                        <a:pt x="61640" y="70988"/>
                      </a:cubicBezTo>
                      <a:lnTo>
                        <a:pt x="36810" y="11702"/>
                      </a:lnTo>
                      <a:cubicBezTo>
                        <a:pt x="32711" y="1979"/>
                        <a:pt x="21464" y="-2596"/>
                        <a:pt x="11742" y="1503"/>
                      </a:cubicBezTo>
                      <a:close/>
                    </a:path>
                  </a:pathLst>
                </a:custGeom>
                <a:solidFill>
                  <a:schemeClr val="accent1"/>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grpSp>
          <p:sp>
            <p:nvSpPr>
              <p:cNvPr id="16" name="Freeform: Shape 15">
                <a:extLst>
                  <a:ext uri="{FF2B5EF4-FFF2-40B4-BE49-F238E27FC236}">
                    <a16:creationId xmlns:a16="http://schemas.microsoft.com/office/drawing/2014/main" id="{278904D2-30CB-E470-D3B9-A68AB1D5386C}"/>
                  </a:ext>
                </a:extLst>
              </p:cNvPr>
              <p:cNvSpPr/>
              <p:nvPr/>
            </p:nvSpPr>
            <p:spPr>
              <a:xfrm>
                <a:off x="3203136" y="188365"/>
                <a:ext cx="113909" cy="103615"/>
              </a:xfrm>
              <a:custGeom>
                <a:avLst/>
                <a:gdLst>
                  <a:gd name="connsiteX0" fmla="*/ 27 w 113909"/>
                  <a:gd name="connsiteY0" fmla="*/ 85574 h 103615"/>
                  <a:gd name="connsiteX1" fmla="*/ 5317 w 113909"/>
                  <a:gd name="connsiteY1" fmla="*/ 10417 h 103615"/>
                  <a:gd name="connsiteX2" fmla="*/ 17280 w 113909"/>
                  <a:gd name="connsiteY2" fmla="*/ 27 h 103615"/>
                  <a:gd name="connsiteX3" fmla="*/ 103493 w 113909"/>
                  <a:gd name="connsiteY3" fmla="*/ 6080 h 103615"/>
                  <a:gd name="connsiteX4" fmla="*/ 113882 w 113909"/>
                  <a:gd name="connsiteY4" fmla="*/ 18042 h 103615"/>
                  <a:gd name="connsiteX5" fmla="*/ 108592 w 113909"/>
                  <a:gd name="connsiteY5" fmla="*/ 93199 h 103615"/>
                  <a:gd name="connsiteX6" fmla="*/ 96630 w 113909"/>
                  <a:gd name="connsiteY6" fmla="*/ 103588 h 103615"/>
                  <a:gd name="connsiteX7" fmla="*/ 10417 w 113909"/>
                  <a:gd name="connsiteY7" fmla="*/ 97536 h 103615"/>
                  <a:gd name="connsiteX8" fmla="*/ 27 w 113909"/>
                  <a:gd name="connsiteY8" fmla="*/ 85574 h 103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906" h="103615">
                    <a:moveTo>
                      <a:pt x="27" y="85574"/>
                    </a:moveTo>
                    <a:lnTo>
                      <a:pt x="5317" y="10417"/>
                    </a:lnTo>
                    <a:cubicBezTo>
                      <a:pt x="5746" y="4269"/>
                      <a:pt x="11084" y="-402"/>
                      <a:pt x="17280" y="27"/>
                    </a:cubicBezTo>
                    <a:lnTo>
                      <a:pt x="103493" y="6080"/>
                    </a:lnTo>
                    <a:cubicBezTo>
                      <a:pt x="109641" y="6509"/>
                      <a:pt x="114311" y="11847"/>
                      <a:pt x="113882" y="18042"/>
                    </a:cubicBezTo>
                    <a:lnTo>
                      <a:pt x="108592" y="93199"/>
                    </a:lnTo>
                    <a:cubicBezTo>
                      <a:pt x="108163" y="99394"/>
                      <a:pt x="102826" y="104017"/>
                      <a:pt x="96630" y="103588"/>
                    </a:cubicBezTo>
                    <a:lnTo>
                      <a:pt x="10417" y="97536"/>
                    </a:lnTo>
                    <a:cubicBezTo>
                      <a:pt x="4269" y="97107"/>
                      <a:pt x="-402" y="91722"/>
                      <a:pt x="27" y="85574"/>
                    </a:cubicBezTo>
                    <a:close/>
                  </a:path>
                </a:pathLst>
              </a:custGeom>
              <a:solidFill>
                <a:schemeClr val="accent1"/>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7" name="Freeform: Shape 16">
                <a:extLst>
                  <a:ext uri="{FF2B5EF4-FFF2-40B4-BE49-F238E27FC236}">
                    <a16:creationId xmlns:a16="http://schemas.microsoft.com/office/drawing/2014/main" id="{5C8B7B42-1049-AF9C-DCAF-966ABECABFDB}"/>
                  </a:ext>
                </a:extLst>
              </p:cNvPr>
              <p:cNvSpPr/>
              <p:nvPr/>
            </p:nvSpPr>
            <p:spPr>
              <a:xfrm>
                <a:off x="2734907" y="365331"/>
                <a:ext cx="135828" cy="137048"/>
              </a:xfrm>
              <a:custGeom>
                <a:avLst/>
                <a:gdLst>
                  <a:gd name="connsiteX0" fmla="*/ 131886 w 135828"/>
                  <a:gd name="connsiteY0" fmla="*/ 51629 h 137048"/>
                  <a:gd name="connsiteX1" fmla="*/ 74600 w 135828"/>
                  <a:gd name="connsiteY1" fmla="*/ 2684 h 137048"/>
                  <a:gd name="connsiteX2" fmla="*/ 58826 w 135828"/>
                  <a:gd name="connsiteY2" fmla="*/ 3923 h 137048"/>
                  <a:gd name="connsiteX3" fmla="*/ 2685 w 135828"/>
                  <a:gd name="connsiteY3" fmla="*/ 69644 h 137048"/>
                  <a:gd name="connsiteX4" fmla="*/ 3923 w 135828"/>
                  <a:gd name="connsiteY4" fmla="*/ 85419 h 137048"/>
                  <a:gd name="connsiteX5" fmla="*/ 61208 w 135828"/>
                  <a:gd name="connsiteY5" fmla="*/ 134364 h 137048"/>
                  <a:gd name="connsiteX6" fmla="*/ 76983 w 135828"/>
                  <a:gd name="connsiteY6" fmla="*/ 133125 h 137048"/>
                  <a:gd name="connsiteX7" fmla="*/ 133125 w 135828"/>
                  <a:gd name="connsiteY7" fmla="*/ 67404 h 137048"/>
                  <a:gd name="connsiteX8" fmla="*/ 131886 w 135828"/>
                  <a:gd name="connsiteY8" fmla="*/ 51629 h 137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828" h="137048">
                    <a:moveTo>
                      <a:pt x="131886" y="51629"/>
                    </a:moveTo>
                    <a:lnTo>
                      <a:pt x="74600" y="2684"/>
                    </a:lnTo>
                    <a:cubicBezTo>
                      <a:pt x="69882" y="-1319"/>
                      <a:pt x="62829" y="-795"/>
                      <a:pt x="58826" y="3923"/>
                    </a:cubicBezTo>
                    <a:lnTo>
                      <a:pt x="2685" y="69644"/>
                    </a:lnTo>
                    <a:cubicBezTo>
                      <a:pt x="-1319" y="74362"/>
                      <a:pt x="-795" y="81416"/>
                      <a:pt x="3923" y="85419"/>
                    </a:cubicBezTo>
                    <a:lnTo>
                      <a:pt x="61208" y="134364"/>
                    </a:lnTo>
                    <a:cubicBezTo>
                      <a:pt x="65927" y="138367"/>
                      <a:pt x="72980" y="137843"/>
                      <a:pt x="76983" y="133125"/>
                    </a:cubicBezTo>
                    <a:lnTo>
                      <a:pt x="133125" y="67404"/>
                    </a:lnTo>
                    <a:cubicBezTo>
                      <a:pt x="137176" y="62686"/>
                      <a:pt x="136604" y="55633"/>
                      <a:pt x="131886" y="51629"/>
                    </a:cubicBezTo>
                    <a:close/>
                  </a:path>
                </a:pathLst>
              </a:custGeom>
              <a:solidFill>
                <a:schemeClr val="accent1"/>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grpSp>
            <p:nvGrpSpPr>
              <p:cNvPr id="18" name="Graphic 2">
                <a:extLst>
                  <a:ext uri="{FF2B5EF4-FFF2-40B4-BE49-F238E27FC236}">
                    <a16:creationId xmlns:a16="http://schemas.microsoft.com/office/drawing/2014/main" id="{189FF17B-966B-C7F4-E54C-11F83D4593D2}"/>
                  </a:ext>
                </a:extLst>
              </p:cNvPr>
              <p:cNvGrpSpPr/>
              <p:nvPr/>
            </p:nvGrpSpPr>
            <p:grpSpPr>
              <a:xfrm>
                <a:off x="2829651" y="45592"/>
                <a:ext cx="294797" cy="314225"/>
                <a:chOff x="2829651" y="45592"/>
                <a:chExt cx="294797" cy="314225"/>
              </a:xfrm>
            </p:grpSpPr>
            <p:sp>
              <p:nvSpPr>
                <p:cNvPr id="19" name="Freeform: Shape 18">
                  <a:extLst>
                    <a:ext uri="{FF2B5EF4-FFF2-40B4-BE49-F238E27FC236}">
                      <a16:creationId xmlns:a16="http://schemas.microsoft.com/office/drawing/2014/main" id="{570242B9-B2D1-1B29-E7B6-9AF85FE0CC92}"/>
                    </a:ext>
                  </a:extLst>
                </p:cNvPr>
                <p:cNvSpPr/>
                <p:nvPr/>
              </p:nvSpPr>
              <p:spPr>
                <a:xfrm>
                  <a:off x="2923128" y="179961"/>
                  <a:ext cx="144825" cy="114656"/>
                </a:xfrm>
                <a:custGeom>
                  <a:avLst/>
                  <a:gdLst>
                    <a:gd name="connsiteX0" fmla="*/ 36074 w 144825"/>
                    <a:gd name="connsiteY0" fmla="*/ 113803 h 114656"/>
                    <a:gd name="connsiteX1" fmla="*/ 21824 w 144825"/>
                    <a:gd name="connsiteY1" fmla="*/ 107941 h 114656"/>
                    <a:gd name="connsiteX2" fmla="*/ 854 w 144825"/>
                    <a:gd name="connsiteY2" fmla="*/ 57900 h 114656"/>
                    <a:gd name="connsiteX3" fmla="*/ 6668 w 144825"/>
                    <a:gd name="connsiteY3" fmla="*/ 43650 h 114656"/>
                    <a:gd name="connsiteX4" fmla="*/ 108752 w 144825"/>
                    <a:gd name="connsiteY4" fmla="*/ 853 h 114656"/>
                    <a:gd name="connsiteX5" fmla="*/ 123002 w 144825"/>
                    <a:gd name="connsiteY5" fmla="*/ 6715 h 114656"/>
                    <a:gd name="connsiteX6" fmla="*/ 143971 w 144825"/>
                    <a:gd name="connsiteY6" fmla="*/ 56756 h 114656"/>
                    <a:gd name="connsiteX7" fmla="*/ 138157 w 144825"/>
                    <a:gd name="connsiteY7" fmla="*/ 71006 h 114656"/>
                    <a:gd name="connsiteX8" fmla="*/ 36074 w 144825"/>
                    <a:gd name="connsiteY8" fmla="*/ 113803 h 114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4825" h="114656">
                      <a:moveTo>
                        <a:pt x="36074" y="113803"/>
                      </a:moveTo>
                      <a:cubicBezTo>
                        <a:pt x="30545" y="116138"/>
                        <a:pt x="24111" y="113517"/>
                        <a:pt x="21824" y="107941"/>
                      </a:cubicBezTo>
                      <a:lnTo>
                        <a:pt x="854" y="57900"/>
                      </a:lnTo>
                      <a:cubicBezTo>
                        <a:pt x="-1481" y="52372"/>
                        <a:pt x="1140" y="45938"/>
                        <a:pt x="6668" y="43650"/>
                      </a:cubicBezTo>
                      <a:lnTo>
                        <a:pt x="108752" y="853"/>
                      </a:lnTo>
                      <a:cubicBezTo>
                        <a:pt x="114280" y="-1482"/>
                        <a:pt x="120667" y="1139"/>
                        <a:pt x="123002" y="6715"/>
                      </a:cubicBezTo>
                      <a:lnTo>
                        <a:pt x="143971" y="56756"/>
                      </a:lnTo>
                      <a:cubicBezTo>
                        <a:pt x="146306" y="62285"/>
                        <a:pt x="143685" y="68719"/>
                        <a:pt x="138157" y="71006"/>
                      </a:cubicBezTo>
                      <a:lnTo>
                        <a:pt x="36074" y="113803"/>
                      </a:lnTo>
                      <a:close/>
                    </a:path>
                  </a:pathLst>
                </a:custGeom>
                <a:solidFill>
                  <a:schemeClr val="accent1"/>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20" name="Freeform: Shape 19">
                  <a:extLst>
                    <a:ext uri="{FF2B5EF4-FFF2-40B4-BE49-F238E27FC236}">
                      <a16:creationId xmlns:a16="http://schemas.microsoft.com/office/drawing/2014/main" id="{6EE08632-CBAE-E1BC-6A0C-5A0E647E7C23}"/>
                    </a:ext>
                  </a:extLst>
                </p:cNvPr>
                <p:cNvSpPr/>
                <p:nvPr/>
              </p:nvSpPr>
              <p:spPr>
                <a:xfrm>
                  <a:off x="2829651" y="45592"/>
                  <a:ext cx="294797" cy="294751"/>
                </a:xfrm>
                <a:custGeom>
                  <a:avLst/>
                  <a:gdLst>
                    <a:gd name="connsiteX0" fmla="*/ 156335 w 294797"/>
                    <a:gd name="connsiteY0" fmla="*/ 266186 h 294751"/>
                    <a:gd name="connsiteX1" fmla="*/ 37428 w 294797"/>
                    <a:gd name="connsiteY1" fmla="*/ 193460 h 294751"/>
                    <a:gd name="connsiteX2" fmla="*/ 101289 w 294797"/>
                    <a:gd name="connsiteY2" fmla="*/ 37475 h 294751"/>
                    <a:gd name="connsiteX3" fmla="*/ 257275 w 294797"/>
                    <a:gd name="connsiteY3" fmla="*/ 101337 h 294751"/>
                    <a:gd name="connsiteX4" fmla="*/ 225773 w 294797"/>
                    <a:gd name="connsiteY4" fmla="*/ 237163 h 294751"/>
                    <a:gd name="connsiteX5" fmla="*/ 237163 w 294797"/>
                    <a:gd name="connsiteY5" fmla="*/ 264280 h 294751"/>
                    <a:gd name="connsiteX6" fmla="*/ 283343 w 294797"/>
                    <a:gd name="connsiteY6" fmla="*/ 90423 h 294751"/>
                    <a:gd name="connsiteX7" fmla="*/ 90423 w 294797"/>
                    <a:gd name="connsiteY7" fmla="*/ 11454 h 294751"/>
                    <a:gd name="connsiteX8" fmla="*/ 11454 w 294797"/>
                    <a:gd name="connsiteY8" fmla="*/ 204374 h 294751"/>
                    <a:gd name="connsiteX9" fmla="*/ 167772 w 294797"/>
                    <a:gd name="connsiteY9" fmla="*/ 293352 h 294751"/>
                    <a:gd name="connsiteX10" fmla="*/ 156335 w 294797"/>
                    <a:gd name="connsiteY10" fmla="*/ 266186 h 294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4797" h="294751">
                      <a:moveTo>
                        <a:pt x="156335" y="266186"/>
                      </a:moveTo>
                      <a:cubicBezTo>
                        <a:pt x="106580" y="269951"/>
                        <a:pt x="57778" y="242024"/>
                        <a:pt x="37428" y="193460"/>
                      </a:cubicBezTo>
                      <a:cubicBezTo>
                        <a:pt x="11978" y="132744"/>
                        <a:pt x="40573" y="62925"/>
                        <a:pt x="101289" y="37475"/>
                      </a:cubicBezTo>
                      <a:cubicBezTo>
                        <a:pt x="162006" y="12026"/>
                        <a:pt x="231825" y="40621"/>
                        <a:pt x="257275" y="101337"/>
                      </a:cubicBezTo>
                      <a:cubicBezTo>
                        <a:pt x="277624" y="149901"/>
                        <a:pt x="263375" y="204326"/>
                        <a:pt x="225773" y="237163"/>
                      </a:cubicBezTo>
                      <a:lnTo>
                        <a:pt x="237163" y="264280"/>
                      </a:lnTo>
                      <a:cubicBezTo>
                        <a:pt x="288920" y="224533"/>
                        <a:pt x="309746" y="153380"/>
                        <a:pt x="283343" y="90423"/>
                      </a:cubicBezTo>
                      <a:cubicBezTo>
                        <a:pt x="251937" y="15457"/>
                        <a:pt x="165390" y="-19953"/>
                        <a:pt x="90423" y="11454"/>
                      </a:cubicBezTo>
                      <a:cubicBezTo>
                        <a:pt x="15457" y="42861"/>
                        <a:pt x="-19953" y="129408"/>
                        <a:pt x="11454" y="204374"/>
                      </a:cubicBezTo>
                      <a:cubicBezTo>
                        <a:pt x="37856" y="267330"/>
                        <a:pt x="103148" y="302359"/>
                        <a:pt x="167772" y="293352"/>
                      </a:cubicBezTo>
                      <a:lnTo>
                        <a:pt x="156335" y="266186"/>
                      </a:lnTo>
                      <a:close/>
                    </a:path>
                  </a:pathLst>
                </a:custGeom>
                <a:solidFill>
                  <a:schemeClr val="accent1"/>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21" name="Freeform: Shape 20">
                  <a:extLst>
                    <a:ext uri="{FF2B5EF4-FFF2-40B4-BE49-F238E27FC236}">
                      <a16:creationId xmlns:a16="http://schemas.microsoft.com/office/drawing/2014/main" id="{6B0EEA58-6BFF-5A45-EA75-AA598C7CFF03}"/>
                    </a:ext>
                  </a:extLst>
                </p:cNvPr>
                <p:cNvSpPr/>
                <p:nvPr/>
              </p:nvSpPr>
              <p:spPr>
                <a:xfrm>
                  <a:off x="2983841" y="264883"/>
                  <a:ext cx="86642" cy="94934"/>
                </a:xfrm>
                <a:custGeom>
                  <a:avLst/>
                  <a:gdLst>
                    <a:gd name="connsiteX0" fmla="*/ 50661 w 86642"/>
                    <a:gd name="connsiteY0" fmla="*/ 85642 h 94934"/>
                    <a:gd name="connsiteX1" fmla="*/ 86642 w 86642"/>
                    <a:gd name="connsiteY1" fmla="*/ 72202 h 94934"/>
                    <a:gd name="connsiteX2" fmla="*/ 56380 w 86642"/>
                    <a:gd name="connsiteY2" fmla="*/ 0 h 94934"/>
                    <a:gd name="connsiteX3" fmla="*/ 0 w 86642"/>
                    <a:gd name="connsiteY3" fmla="*/ 23638 h 94934"/>
                    <a:gd name="connsiteX4" fmla="*/ 29882 w 86642"/>
                    <a:gd name="connsiteY4" fmla="*/ 94935 h 94934"/>
                    <a:gd name="connsiteX5" fmla="*/ 50661 w 86642"/>
                    <a:gd name="connsiteY5" fmla="*/ 85642 h 94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642" h="94934">
                      <a:moveTo>
                        <a:pt x="50661" y="85642"/>
                      </a:moveTo>
                      <a:cubicBezTo>
                        <a:pt x="62575" y="80637"/>
                        <a:pt x="74585" y="76158"/>
                        <a:pt x="86642" y="72202"/>
                      </a:cubicBezTo>
                      <a:lnTo>
                        <a:pt x="56380" y="0"/>
                      </a:lnTo>
                      <a:lnTo>
                        <a:pt x="0" y="23638"/>
                      </a:lnTo>
                      <a:lnTo>
                        <a:pt x="29882" y="94935"/>
                      </a:lnTo>
                      <a:cubicBezTo>
                        <a:pt x="36697" y="91694"/>
                        <a:pt x="43655" y="88596"/>
                        <a:pt x="50661" y="85642"/>
                      </a:cubicBezTo>
                      <a:close/>
                    </a:path>
                  </a:pathLst>
                </a:custGeom>
                <a:solidFill>
                  <a:schemeClr val="accent1"/>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grpSp>
          <p:grpSp>
            <p:nvGrpSpPr>
              <p:cNvPr id="22" name="Graphic 2">
                <a:extLst>
                  <a:ext uri="{FF2B5EF4-FFF2-40B4-BE49-F238E27FC236}">
                    <a16:creationId xmlns:a16="http://schemas.microsoft.com/office/drawing/2014/main" id="{C7F2AE45-BA44-4D61-A173-7638315487E6}"/>
                  </a:ext>
                </a:extLst>
              </p:cNvPr>
              <p:cNvGrpSpPr/>
              <p:nvPr/>
            </p:nvGrpSpPr>
            <p:grpSpPr>
              <a:xfrm>
                <a:off x="3187293" y="512372"/>
                <a:ext cx="287330" cy="427493"/>
                <a:chOff x="3187293" y="512372"/>
                <a:chExt cx="287330" cy="427493"/>
              </a:xfrm>
            </p:grpSpPr>
            <p:sp>
              <p:nvSpPr>
                <p:cNvPr id="23" name="Freeform: Shape 22">
                  <a:extLst>
                    <a:ext uri="{FF2B5EF4-FFF2-40B4-BE49-F238E27FC236}">
                      <a16:creationId xmlns:a16="http://schemas.microsoft.com/office/drawing/2014/main" id="{0C13A4B1-5363-2340-F504-B40E460ED510}"/>
                    </a:ext>
                  </a:extLst>
                </p:cNvPr>
                <p:cNvSpPr/>
                <p:nvPr/>
              </p:nvSpPr>
              <p:spPr>
                <a:xfrm>
                  <a:off x="3187293" y="762910"/>
                  <a:ext cx="69866" cy="69867"/>
                </a:xfrm>
                <a:custGeom>
                  <a:avLst/>
                  <a:gdLst>
                    <a:gd name="connsiteX0" fmla="*/ 67150 w 69866"/>
                    <a:gd name="connsiteY0" fmla="*/ 21446 h 69867"/>
                    <a:gd name="connsiteX1" fmla="*/ 48421 w 69866"/>
                    <a:gd name="connsiteY1" fmla="*/ 67150 h 69867"/>
                    <a:gd name="connsiteX2" fmla="*/ 2717 w 69866"/>
                    <a:gd name="connsiteY2" fmla="*/ 48421 h 69867"/>
                    <a:gd name="connsiteX3" fmla="*/ 21446 w 69866"/>
                    <a:gd name="connsiteY3" fmla="*/ 2717 h 69867"/>
                    <a:gd name="connsiteX4" fmla="*/ 67150 w 69866"/>
                    <a:gd name="connsiteY4" fmla="*/ 21446 h 698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866" h="69867">
                      <a:moveTo>
                        <a:pt x="67150" y="21446"/>
                      </a:moveTo>
                      <a:cubicBezTo>
                        <a:pt x="74585" y="39223"/>
                        <a:pt x="66245" y="59716"/>
                        <a:pt x="48421" y="67150"/>
                      </a:cubicBezTo>
                      <a:cubicBezTo>
                        <a:pt x="30644" y="74585"/>
                        <a:pt x="10151" y="66245"/>
                        <a:pt x="2717" y="48421"/>
                      </a:cubicBezTo>
                      <a:cubicBezTo>
                        <a:pt x="-4718" y="30644"/>
                        <a:pt x="3622" y="10151"/>
                        <a:pt x="21446" y="2717"/>
                      </a:cubicBezTo>
                      <a:cubicBezTo>
                        <a:pt x="39270" y="-4718"/>
                        <a:pt x="59716" y="3622"/>
                        <a:pt x="67150" y="21446"/>
                      </a:cubicBezTo>
                      <a:close/>
                    </a:path>
                  </a:pathLst>
                </a:custGeom>
                <a:solidFill>
                  <a:schemeClr val="accent1">
                    <a:lumMod val="75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24" name="Freeform: Shape 23">
                  <a:extLst>
                    <a:ext uri="{FF2B5EF4-FFF2-40B4-BE49-F238E27FC236}">
                      <a16:creationId xmlns:a16="http://schemas.microsoft.com/office/drawing/2014/main" id="{63D3DA5D-B631-497D-6179-1051FF40D109}"/>
                    </a:ext>
                  </a:extLst>
                </p:cNvPr>
                <p:cNvSpPr/>
                <p:nvPr/>
              </p:nvSpPr>
              <p:spPr>
                <a:xfrm>
                  <a:off x="3208261" y="512372"/>
                  <a:ext cx="51138" cy="298960"/>
                </a:xfrm>
                <a:custGeom>
                  <a:avLst/>
                  <a:gdLst>
                    <a:gd name="connsiteX0" fmla="*/ 51139 w 51138"/>
                    <a:gd name="connsiteY0" fmla="*/ 0 h 298960"/>
                    <a:gd name="connsiteX1" fmla="*/ 26213 w 51138"/>
                    <a:gd name="connsiteY1" fmla="*/ 286949 h 298960"/>
                    <a:gd name="connsiteX2" fmla="*/ 12011 w 51138"/>
                    <a:gd name="connsiteY2" fmla="*/ 298912 h 298960"/>
                    <a:gd name="connsiteX3" fmla="*/ 49 w 51138"/>
                    <a:gd name="connsiteY3" fmla="*/ 284709 h 298960"/>
                    <a:gd name="connsiteX4" fmla="*/ 51139 w 51138"/>
                    <a:gd name="connsiteY4" fmla="*/ 0 h 298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138" h="298960">
                      <a:moveTo>
                        <a:pt x="51139" y="0"/>
                      </a:moveTo>
                      <a:lnTo>
                        <a:pt x="26213" y="286949"/>
                      </a:lnTo>
                      <a:cubicBezTo>
                        <a:pt x="25594" y="294193"/>
                        <a:pt x="19208" y="299531"/>
                        <a:pt x="12011" y="298912"/>
                      </a:cubicBezTo>
                      <a:cubicBezTo>
                        <a:pt x="4767" y="298292"/>
                        <a:pt x="-571" y="291906"/>
                        <a:pt x="49" y="284709"/>
                      </a:cubicBezTo>
                      <a:cubicBezTo>
                        <a:pt x="144" y="283518"/>
                        <a:pt x="-2048" y="296147"/>
                        <a:pt x="51139" y="0"/>
                      </a:cubicBezTo>
                      <a:close/>
                    </a:path>
                  </a:pathLst>
                </a:custGeom>
                <a:solidFill>
                  <a:schemeClr val="accent1"/>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25" name="Freeform: Shape 24">
                  <a:extLst>
                    <a:ext uri="{FF2B5EF4-FFF2-40B4-BE49-F238E27FC236}">
                      <a16:creationId xmlns:a16="http://schemas.microsoft.com/office/drawing/2014/main" id="{83860D44-D93E-A24B-1B24-85F4DC5C2B3D}"/>
                    </a:ext>
                  </a:extLst>
                </p:cNvPr>
                <p:cNvSpPr/>
                <p:nvPr/>
              </p:nvSpPr>
              <p:spPr>
                <a:xfrm>
                  <a:off x="3209971" y="785731"/>
                  <a:ext cx="264652" cy="154133"/>
                </a:xfrm>
                <a:custGeom>
                  <a:avLst/>
                  <a:gdLst>
                    <a:gd name="connsiteX0" fmla="*/ 264653 w 264652"/>
                    <a:gd name="connsiteY0" fmla="*/ 154134 h 154133"/>
                    <a:gd name="connsiteX1" fmla="*/ 7251 w 264652"/>
                    <a:gd name="connsiteY1" fmla="*/ 24885 h 154133"/>
                    <a:gd name="connsiteX2" fmla="*/ 1389 w 264652"/>
                    <a:gd name="connsiteY2" fmla="*/ 7251 h 154133"/>
                    <a:gd name="connsiteX3" fmla="*/ 19023 w 264652"/>
                    <a:gd name="connsiteY3" fmla="*/ 1389 h 154133"/>
                    <a:gd name="connsiteX4" fmla="*/ 264653 w 264652"/>
                    <a:gd name="connsiteY4" fmla="*/ 154134 h 1541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652" h="154133">
                      <a:moveTo>
                        <a:pt x="264653" y="154134"/>
                      </a:moveTo>
                      <a:lnTo>
                        <a:pt x="7251" y="24885"/>
                      </a:lnTo>
                      <a:cubicBezTo>
                        <a:pt x="770" y="21644"/>
                        <a:pt x="-1851" y="13733"/>
                        <a:pt x="1389" y="7251"/>
                      </a:cubicBezTo>
                      <a:cubicBezTo>
                        <a:pt x="4630" y="770"/>
                        <a:pt x="12541" y="-1851"/>
                        <a:pt x="19023" y="1389"/>
                      </a:cubicBezTo>
                      <a:cubicBezTo>
                        <a:pt x="20071" y="1866"/>
                        <a:pt x="9110" y="-4854"/>
                        <a:pt x="264653" y="154134"/>
                      </a:cubicBezTo>
                      <a:close/>
                    </a:path>
                  </a:pathLst>
                </a:custGeom>
                <a:solidFill>
                  <a:schemeClr val="accent1"/>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26" name="Freeform: Shape 25">
                  <a:extLst>
                    <a:ext uri="{FF2B5EF4-FFF2-40B4-BE49-F238E27FC236}">
                      <a16:creationId xmlns:a16="http://schemas.microsoft.com/office/drawing/2014/main" id="{739F281F-5906-4659-4655-E8539E6ECCD6}"/>
                    </a:ext>
                  </a:extLst>
                </p:cNvPr>
                <p:cNvSpPr/>
                <p:nvPr/>
              </p:nvSpPr>
              <p:spPr>
                <a:xfrm>
                  <a:off x="3208006" y="783576"/>
                  <a:ext cx="28535" cy="28535"/>
                </a:xfrm>
                <a:custGeom>
                  <a:avLst/>
                  <a:gdLst>
                    <a:gd name="connsiteX0" fmla="*/ 27421 w 28535"/>
                    <a:gd name="connsiteY0" fmla="*/ 8739 h 28535"/>
                    <a:gd name="connsiteX1" fmla="*/ 19796 w 28535"/>
                    <a:gd name="connsiteY1" fmla="*/ 27421 h 28535"/>
                    <a:gd name="connsiteX2" fmla="*/ 1114 w 28535"/>
                    <a:gd name="connsiteY2" fmla="*/ 19796 h 28535"/>
                    <a:gd name="connsiteX3" fmla="*/ 8739 w 28535"/>
                    <a:gd name="connsiteY3" fmla="*/ 1114 h 28535"/>
                    <a:gd name="connsiteX4" fmla="*/ 27421 w 28535"/>
                    <a:gd name="connsiteY4" fmla="*/ 8739 h 285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35" h="28535">
                      <a:moveTo>
                        <a:pt x="27421" y="8739"/>
                      </a:moveTo>
                      <a:cubicBezTo>
                        <a:pt x="30471" y="15983"/>
                        <a:pt x="27040" y="24371"/>
                        <a:pt x="19796" y="27421"/>
                      </a:cubicBezTo>
                      <a:cubicBezTo>
                        <a:pt x="12552" y="30471"/>
                        <a:pt x="4164" y="27040"/>
                        <a:pt x="1114" y="19796"/>
                      </a:cubicBezTo>
                      <a:cubicBezTo>
                        <a:pt x="-1936" y="12552"/>
                        <a:pt x="1495" y="4164"/>
                        <a:pt x="8739" y="1114"/>
                      </a:cubicBezTo>
                      <a:cubicBezTo>
                        <a:pt x="15983" y="-1936"/>
                        <a:pt x="24371" y="1495"/>
                        <a:pt x="27421" y="8739"/>
                      </a:cubicBezTo>
                      <a:close/>
                    </a:path>
                  </a:pathLst>
                </a:custGeom>
                <a:solidFill>
                  <a:schemeClr val="accent1"/>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grpSp>
        </p:grpSp>
        <p:grpSp>
          <p:nvGrpSpPr>
            <p:cNvPr id="27" name="Graphic 2">
              <a:extLst>
                <a:ext uri="{FF2B5EF4-FFF2-40B4-BE49-F238E27FC236}">
                  <a16:creationId xmlns:a16="http://schemas.microsoft.com/office/drawing/2014/main" id="{DA3BC52A-4B04-87BE-3E1D-B314F8B71BD7}"/>
                </a:ext>
              </a:extLst>
            </p:cNvPr>
            <p:cNvGrpSpPr/>
            <p:nvPr/>
          </p:nvGrpSpPr>
          <p:grpSpPr>
            <a:xfrm>
              <a:off x="5873983" y="2829957"/>
              <a:ext cx="871074" cy="724108"/>
              <a:chOff x="6631687" y="2339917"/>
              <a:chExt cx="1219713" cy="1013925"/>
            </a:xfrm>
          </p:grpSpPr>
          <p:sp>
            <p:nvSpPr>
              <p:cNvPr id="28" name="Freeform: Shape 27">
                <a:extLst>
                  <a:ext uri="{FF2B5EF4-FFF2-40B4-BE49-F238E27FC236}">
                    <a16:creationId xmlns:a16="http://schemas.microsoft.com/office/drawing/2014/main" id="{AA6F08CC-7DF4-EFA0-D6F3-0EB71F26A548}"/>
                  </a:ext>
                </a:extLst>
              </p:cNvPr>
              <p:cNvSpPr/>
              <p:nvPr/>
            </p:nvSpPr>
            <p:spPr>
              <a:xfrm>
                <a:off x="6631687" y="2339917"/>
                <a:ext cx="749709" cy="740797"/>
              </a:xfrm>
              <a:custGeom>
                <a:avLst/>
                <a:gdLst>
                  <a:gd name="connsiteX0" fmla="*/ 131870 w 749709"/>
                  <a:gd name="connsiteY0" fmla="*/ 519712 h 740797"/>
                  <a:gd name="connsiteX1" fmla="*/ 117763 w 749709"/>
                  <a:gd name="connsiteY1" fmla="*/ 515470 h 740797"/>
                  <a:gd name="connsiteX2" fmla="*/ 24543 w 749709"/>
                  <a:gd name="connsiteY2" fmla="*/ 504270 h 740797"/>
                  <a:gd name="connsiteX3" fmla="*/ 0 w 749709"/>
                  <a:gd name="connsiteY3" fmla="*/ 382837 h 740797"/>
                  <a:gd name="connsiteX4" fmla="*/ 81591 w 749709"/>
                  <a:gd name="connsiteY4" fmla="*/ 336323 h 740797"/>
                  <a:gd name="connsiteX5" fmla="*/ 92980 w 749709"/>
                  <a:gd name="connsiteY5" fmla="*/ 326935 h 740797"/>
                  <a:gd name="connsiteX6" fmla="*/ 124006 w 749709"/>
                  <a:gd name="connsiteY6" fmla="*/ 234621 h 740797"/>
                  <a:gd name="connsiteX7" fmla="*/ 120622 w 749709"/>
                  <a:gd name="connsiteY7" fmla="*/ 220276 h 740797"/>
                  <a:gd name="connsiteX8" fmla="*/ 83735 w 749709"/>
                  <a:gd name="connsiteY8" fmla="*/ 133919 h 740797"/>
                  <a:gd name="connsiteX9" fmla="*/ 176668 w 749709"/>
                  <a:gd name="connsiteY9" fmla="*/ 51947 h 740797"/>
                  <a:gd name="connsiteX10" fmla="*/ 257735 w 749709"/>
                  <a:gd name="connsiteY10" fmla="*/ 99319 h 740797"/>
                  <a:gd name="connsiteX11" fmla="*/ 271556 w 749709"/>
                  <a:gd name="connsiteY11" fmla="*/ 104467 h 740797"/>
                  <a:gd name="connsiteX12" fmla="*/ 367014 w 749709"/>
                  <a:gd name="connsiteY12" fmla="*/ 85213 h 740797"/>
                  <a:gd name="connsiteX13" fmla="*/ 377738 w 749709"/>
                  <a:gd name="connsiteY13" fmla="*/ 75109 h 740797"/>
                  <a:gd name="connsiteX14" fmla="*/ 434070 w 749709"/>
                  <a:gd name="connsiteY14" fmla="*/ 0 h 740797"/>
                  <a:gd name="connsiteX15" fmla="*/ 551499 w 749709"/>
                  <a:gd name="connsiteY15" fmla="*/ 39508 h 740797"/>
                  <a:gd name="connsiteX16" fmla="*/ 550975 w 749709"/>
                  <a:gd name="connsiteY16" fmla="*/ 133395 h 740797"/>
                  <a:gd name="connsiteX17" fmla="*/ 553406 w 749709"/>
                  <a:gd name="connsiteY17" fmla="*/ 147931 h 740797"/>
                  <a:gd name="connsiteX18" fmla="*/ 617839 w 749709"/>
                  <a:gd name="connsiteY18" fmla="*/ 220990 h 740797"/>
                  <a:gd name="connsiteX19" fmla="*/ 631946 w 749709"/>
                  <a:gd name="connsiteY19" fmla="*/ 225232 h 740797"/>
                  <a:gd name="connsiteX20" fmla="*/ 725165 w 749709"/>
                  <a:gd name="connsiteY20" fmla="*/ 236432 h 740797"/>
                  <a:gd name="connsiteX21" fmla="*/ 749709 w 749709"/>
                  <a:gd name="connsiteY21" fmla="*/ 357865 h 740797"/>
                  <a:gd name="connsiteX22" fmla="*/ 668119 w 749709"/>
                  <a:gd name="connsiteY22" fmla="*/ 404379 h 740797"/>
                  <a:gd name="connsiteX23" fmla="*/ 656776 w 749709"/>
                  <a:gd name="connsiteY23" fmla="*/ 413767 h 740797"/>
                  <a:gd name="connsiteX24" fmla="*/ 625751 w 749709"/>
                  <a:gd name="connsiteY24" fmla="*/ 506081 h 740797"/>
                  <a:gd name="connsiteX25" fmla="*/ 629134 w 749709"/>
                  <a:gd name="connsiteY25" fmla="*/ 520426 h 740797"/>
                  <a:gd name="connsiteX26" fmla="*/ 666022 w 749709"/>
                  <a:gd name="connsiteY26" fmla="*/ 606783 h 740797"/>
                  <a:gd name="connsiteX27" fmla="*/ 573089 w 749709"/>
                  <a:gd name="connsiteY27" fmla="*/ 688755 h 740797"/>
                  <a:gd name="connsiteX28" fmla="*/ 492022 w 749709"/>
                  <a:gd name="connsiteY28" fmla="*/ 641383 h 740797"/>
                  <a:gd name="connsiteX29" fmla="*/ 478201 w 749709"/>
                  <a:gd name="connsiteY29" fmla="*/ 636235 h 740797"/>
                  <a:gd name="connsiteX30" fmla="*/ 382742 w 749709"/>
                  <a:gd name="connsiteY30" fmla="*/ 655537 h 740797"/>
                  <a:gd name="connsiteX31" fmla="*/ 372019 w 749709"/>
                  <a:gd name="connsiteY31" fmla="*/ 665641 h 740797"/>
                  <a:gd name="connsiteX32" fmla="*/ 315687 w 749709"/>
                  <a:gd name="connsiteY32" fmla="*/ 740797 h 740797"/>
                  <a:gd name="connsiteX33" fmla="*/ 198258 w 749709"/>
                  <a:gd name="connsiteY33" fmla="*/ 701289 h 740797"/>
                  <a:gd name="connsiteX34" fmla="*/ 198782 w 749709"/>
                  <a:gd name="connsiteY34" fmla="*/ 607402 h 740797"/>
                  <a:gd name="connsiteX35" fmla="*/ 196351 w 749709"/>
                  <a:gd name="connsiteY35" fmla="*/ 592867 h 740797"/>
                  <a:gd name="connsiteX36" fmla="*/ 131870 w 749709"/>
                  <a:gd name="connsiteY36" fmla="*/ 519712 h 740797"/>
                  <a:gd name="connsiteX37" fmla="*/ 398993 w 749709"/>
                  <a:gd name="connsiteY37" fmla="*/ 489878 h 740797"/>
                  <a:gd name="connsiteX38" fmla="*/ 494453 w 749709"/>
                  <a:gd name="connsiteY38" fmla="*/ 346141 h 740797"/>
                  <a:gd name="connsiteX39" fmla="*/ 350716 w 749709"/>
                  <a:gd name="connsiteY39" fmla="*/ 250682 h 740797"/>
                  <a:gd name="connsiteX40" fmla="*/ 255256 w 749709"/>
                  <a:gd name="connsiteY40" fmla="*/ 394418 h 740797"/>
                  <a:gd name="connsiteX41" fmla="*/ 398993 w 749709"/>
                  <a:gd name="connsiteY41" fmla="*/ 489878 h 740797"/>
                  <a:gd name="connsiteX42" fmla="*/ 414482 w 749709"/>
                  <a:gd name="connsiteY42" fmla="*/ 566607 h 740797"/>
                  <a:gd name="connsiteX43" fmla="*/ 571135 w 749709"/>
                  <a:gd name="connsiteY43" fmla="*/ 330652 h 740797"/>
                  <a:gd name="connsiteX44" fmla="*/ 335179 w 749709"/>
                  <a:gd name="connsiteY44" fmla="*/ 174000 h 740797"/>
                  <a:gd name="connsiteX45" fmla="*/ 178527 w 749709"/>
                  <a:gd name="connsiteY45" fmla="*/ 409955 h 740797"/>
                  <a:gd name="connsiteX46" fmla="*/ 414482 w 749709"/>
                  <a:gd name="connsiteY46" fmla="*/ 566607 h 740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749709" h="740797">
                    <a:moveTo>
                      <a:pt x="131870" y="519712"/>
                    </a:moveTo>
                    <a:cubicBezTo>
                      <a:pt x="128343" y="515708"/>
                      <a:pt x="122862" y="514088"/>
                      <a:pt x="117763" y="515470"/>
                    </a:cubicBezTo>
                    <a:cubicBezTo>
                      <a:pt x="92599" y="522285"/>
                      <a:pt x="47039" y="512134"/>
                      <a:pt x="24543" y="504270"/>
                    </a:cubicBezTo>
                    <a:lnTo>
                      <a:pt x="0" y="382837"/>
                    </a:lnTo>
                    <a:cubicBezTo>
                      <a:pt x="17681" y="366824"/>
                      <a:pt x="55760" y="339802"/>
                      <a:pt x="81591" y="336323"/>
                    </a:cubicBezTo>
                    <a:cubicBezTo>
                      <a:pt x="86833" y="335608"/>
                      <a:pt x="91265" y="331986"/>
                      <a:pt x="92980" y="326935"/>
                    </a:cubicBezTo>
                    <a:lnTo>
                      <a:pt x="124006" y="234621"/>
                    </a:lnTo>
                    <a:cubicBezTo>
                      <a:pt x="125722" y="229569"/>
                      <a:pt x="124388" y="224041"/>
                      <a:pt x="120622" y="220276"/>
                    </a:cubicBezTo>
                    <a:cubicBezTo>
                      <a:pt x="102179" y="201880"/>
                      <a:pt x="88167" y="157367"/>
                      <a:pt x="83735" y="133919"/>
                    </a:cubicBezTo>
                    <a:lnTo>
                      <a:pt x="176668" y="51947"/>
                    </a:lnTo>
                    <a:cubicBezTo>
                      <a:pt x="199354" y="59287"/>
                      <a:pt x="241817" y="78731"/>
                      <a:pt x="257735" y="99319"/>
                    </a:cubicBezTo>
                    <a:cubicBezTo>
                      <a:pt x="260975" y="103513"/>
                      <a:pt x="266361" y="105515"/>
                      <a:pt x="271556" y="104467"/>
                    </a:cubicBezTo>
                    <a:lnTo>
                      <a:pt x="367014" y="85213"/>
                    </a:lnTo>
                    <a:cubicBezTo>
                      <a:pt x="372210" y="84164"/>
                      <a:pt x="376404" y="80256"/>
                      <a:pt x="377738" y="75109"/>
                    </a:cubicBezTo>
                    <a:cubicBezTo>
                      <a:pt x="384410" y="49946"/>
                      <a:pt x="416007" y="15536"/>
                      <a:pt x="434070" y="0"/>
                    </a:cubicBezTo>
                    <a:lnTo>
                      <a:pt x="551499" y="39508"/>
                    </a:lnTo>
                    <a:cubicBezTo>
                      <a:pt x="556503" y="62813"/>
                      <a:pt x="560888" y="109280"/>
                      <a:pt x="550975" y="133395"/>
                    </a:cubicBezTo>
                    <a:cubicBezTo>
                      <a:pt x="548973" y="138304"/>
                      <a:pt x="549926" y="143975"/>
                      <a:pt x="553406" y="147931"/>
                    </a:cubicBezTo>
                    <a:lnTo>
                      <a:pt x="617839" y="220990"/>
                    </a:lnTo>
                    <a:cubicBezTo>
                      <a:pt x="621366" y="224994"/>
                      <a:pt x="626847" y="226614"/>
                      <a:pt x="631946" y="225232"/>
                    </a:cubicBezTo>
                    <a:cubicBezTo>
                      <a:pt x="657110" y="218417"/>
                      <a:pt x="702671" y="228568"/>
                      <a:pt x="725165" y="236432"/>
                    </a:cubicBezTo>
                    <a:lnTo>
                      <a:pt x="749709" y="357865"/>
                    </a:lnTo>
                    <a:cubicBezTo>
                      <a:pt x="732028" y="373878"/>
                      <a:pt x="693950" y="400900"/>
                      <a:pt x="668119" y="404379"/>
                    </a:cubicBezTo>
                    <a:cubicBezTo>
                      <a:pt x="662876" y="405094"/>
                      <a:pt x="658444" y="408716"/>
                      <a:pt x="656776" y="413767"/>
                    </a:cubicBezTo>
                    <a:lnTo>
                      <a:pt x="625751" y="506081"/>
                    </a:lnTo>
                    <a:cubicBezTo>
                      <a:pt x="624083" y="511133"/>
                      <a:pt x="625369" y="516709"/>
                      <a:pt x="629134" y="520426"/>
                    </a:cubicBezTo>
                    <a:cubicBezTo>
                      <a:pt x="647625" y="538822"/>
                      <a:pt x="661589" y="583335"/>
                      <a:pt x="666022" y="606783"/>
                    </a:cubicBezTo>
                    <a:lnTo>
                      <a:pt x="573089" y="688755"/>
                    </a:lnTo>
                    <a:cubicBezTo>
                      <a:pt x="550403" y="681416"/>
                      <a:pt x="507940" y="661971"/>
                      <a:pt x="492022" y="641383"/>
                    </a:cubicBezTo>
                    <a:cubicBezTo>
                      <a:pt x="488781" y="637189"/>
                      <a:pt x="483396" y="635187"/>
                      <a:pt x="478201" y="636235"/>
                    </a:cubicBezTo>
                    <a:lnTo>
                      <a:pt x="382742" y="655537"/>
                    </a:lnTo>
                    <a:cubicBezTo>
                      <a:pt x="377547" y="656586"/>
                      <a:pt x="373353" y="660494"/>
                      <a:pt x="372019" y="665641"/>
                    </a:cubicBezTo>
                    <a:cubicBezTo>
                      <a:pt x="365347" y="690804"/>
                      <a:pt x="333749" y="725213"/>
                      <a:pt x="315687" y="740797"/>
                    </a:cubicBezTo>
                    <a:lnTo>
                      <a:pt x="198258" y="701289"/>
                    </a:lnTo>
                    <a:cubicBezTo>
                      <a:pt x="193253" y="677984"/>
                      <a:pt x="188869" y="631517"/>
                      <a:pt x="198782" y="607402"/>
                    </a:cubicBezTo>
                    <a:cubicBezTo>
                      <a:pt x="200784" y="602494"/>
                      <a:pt x="199830" y="596822"/>
                      <a:pt x="196351" y="592867"/>
                    </a:cubicBezTo>
                    <a:lnTo>
                      <a:pt x="131870" y="519712"/>
                    </a:lnTo>
                    <a:close/>
                    <a:moveTo>
                      <a:pt x="398993" y="489878"/>
                    </a:moveTo>
                    <a:cubicBezTo>
                      <a:pt x="465048" y="476533"/>
                      <a:pt x="507797" y="412195"/>
                      <a:pt x="494453" y="346141"/>
                    </a:cubicBezTo>
                    <a:cubicBezTo>
                      <a:pt x="481108" y="280087"/>
                      <a:pt x="416770" y="237337"/>
                      <a:pt x="350716" y="250682"/>
                    </a:cubicBezTo>
                    <a:cubicBezTo>
                      <a:pt x="284662" y="264026"/>
                      <a:pt x="241912" y="328364"/>
                      <a:pt x="255256" y="394418"/>
                    </a:cubicBezTo>
                    <a:cubicBezTo>
                      <a:pt x="268553" y="460472"/>
                      <a:pt x="332939" y="503222"/>
                      <a:pt x="398993" y="489878"/>
                    </a:cubicBezTo>
                    <a:close/>
                    <a:moveTo>
                      <a:pt x="414482" y="566607"/>
                    </a:moveTo>
                    <a:cubicBezTo>
                      <a:pt x="522905" y="544732"/>
                      <a:pt x="593057" y="439074"/>
                      <a:pt x="571135" y="330652"/>
                    </a:cubicBezTo>
                    <a:cubicBezTo>
                      <a:pt x="549212" y="222230"/>
                      <a:pt x="443601" y="152077"/>
                      <a:pt x="335179" y="174000"/>
                    </a:cubicBezTo>
                    <a:cubicBezTo>
                      <a:pt x="226757" y="195875"/>
                      <a:pt x="156604" y="301533"/>
                      <a:pt x="178527" y="409955"/>
                    </a:cubicBezTo>
                    <a:cubicBezTo>
                      <a:pt x="200402" y="518329"/>
                      <a:pt x="306060" y="588482"/>
                      <a:pt x="414482" y="566607"/>
                    </a:cubicBezTo>
                    <a:close/>
                  </a:path>
                </a:pathLst>
              </a:custGeom>
              <a:solidFill>
                <a:schemeClr val="accent1">
                  <a:lumMod val="40000"/>
                  <a:lumOff val="60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29" name="Freeform: Shape 28">
                <a:extLst>
                  <a:ext uri="{FF2B5EF4-FFF2-40B4-BE49-F238E27FC236}">
                    <a16:creationId xmlns:a16="http://schemas.microsoft.com/office/drawing/2014/main" id="{3EC61ECC-FAC0-119A-3F23-F3BB0852ADB3}"/>
                  </a:ext>
                </a:extLst>
              </p:cNvPr>
              <p:cNvSpPr/>
              <p:nvPr/>
            </p:nvSpPr>
            <p:spPr>
              <a:xfrm>
                <a:off x="7257724" y="2767362"/>
                <a:ext cx="593676" cy="586480"/>
              </a:xfrm>
              <a:custGeom>
                <a:avLst/>
                <a:gdLst>
                  <a:gd name="connsiteX0" fmla="*/ 294574 w 593676"/>
                  <a:gd name="connsiteY0" fmla="*/ 527051 h 586480"/>
                  <a:gd name="connsiteX1" fmla="*/ 303058 w 593676"/>
                  <a:gd name="connsiteY1" fmla="*/ 519045 h 586480"/>
                  <a:gd name="connsiteX2" fmla="*/ 378643 w 593676"/>
                  <a:gd name="connsiteY2" fmla="*/ 503794 h 586480"/>
                  <a:gd name="connsiteX3" fmla="*/ 389605 w 593676"/>
                  <a:gd name="connsiteY3" fmla="*/ 507892 h 586480"/>
                  <a:gd name="connsiteX4" fmla="*/ 453800 w 593676"/>
                  <a:gd name="connsiteY4" fmla="*/ 545399 h 586480"/>
                  <a:gd name="connsiteX5" fmla="*/ 527384 w 593676"/>
                  <a:gd name="connsiteY5" fmla="*/ 480489 h 586480"/>
                  <a:gd name="connsiteX6" fmla="*/ 498170 w 593676"/>
                  <a:gd name="connsiteY6" fmla="*/ 412100 h 586480"/>
                  <a:gd name="connsiteX7" fmla="*/ 495501 w 593676"/>
                  <a:gd name="connsiteY7" fmla="*/ 400709 h 586480"/>
                  <a:gd name="connsiteX8" fmla="*/ 520093 w 593676"/>
                  <a:gd name="connsiteY8" fmla="*/ 327602 h 586480"/>
                  <a:gd name="connsiteX9" fmla="*/ 529100 w 593676"/>
                  <a:gd name="connsiteY9" fmla="*/ 320167 h 586480"/>
                  <a:gd name="connsiteX10" fmla="*/ 593677 w 593676"/>
                  <a:gd name="connsiteY10" fmla="*/ 283327 h 586480"/>
                  <a:gd name="connsiteX11" fmla="*/ 574280 w 593676"/>
                  <a:gd name="connsiteY11" fmla="*/ 187153 h 586480"/>
                  <a:gd name="connsiteX12" fmla="*/ 500458 w 593676"/>
                  <a:gd name="connsiteY12" fmla="*/ 178289 h 586480"/>
                  <a:gd name="connsiteX13" fmla="*/ 489258 w 593676"/>
                  <a:gd name="connsiteY13" fmla="*/ 174953 h 586480"/>
                  <a:gd name="connsiteX14" fmla="*/ 438264 w 593676"/>
                  <a:gd name="connsiteY14" fmla="*/ 117144 h 586480"/>
                  <a:gd name="connsiteX15" fmla="*/ 436310 w 593676"/>
                  <a:gd name="connsiteY15" fmla="*/ 105611 h 586480"/>
                  <a:gd name="connsiteX16" fmla="*/ 436691 w 593676"/>
                  <a:gd name="connsiteY16" fmla="*/ 31264 h 586480"/>
                  <a:gd name="connsiteX17" fmla="*/ 343710 w 593676"/>
                  <a:gd name="connsiteY17" fmla="*/ 0 h 586480"/>
                  <a:gd name="connsiteX18" fmla="*/ 299102 w 593676"/>
                  <a:gd name="connsiteY18" fmla="*/ 59478 h 586480"/>
                  <a:gd name="connsiteX19" fmla="*/ 290619 w 593676"/>
                  <a:gd name="connsiteY19" fmla="*/ 67484 h 586480"/>
                  <a:gd name="connsiteX20" fmla="*/ 215033 w 593676"/>
                  <a:gd name="connsiteY20" fmla="*/ 82735 h 586480"/>
                  <a:gd name="connsiteX21" fmla="*/ 204072 w 593676"/>
                  <a:gd name="connsiteY21" fmla="*/ 78636 h 586480"/>
                  <a:gd name="connsiteX22" fmla="*/ 139876 w 593676"/>
                  <a:gd name="connsiteY22" fmla="*/ 41129 h 586480"/>
                  <a:gd name="connsiteX23" fmla="*/ 66292 w 593676"/>
                  <a:gd name="connsiteY23" fmla="*/ 106039 h 586480"/>
                  <a:gd name="connsiteX24" fmla="*/ 95506 w 593676"/>
                  <a:gd name="connsiteY24" fmla="*/ 174429 h 586480"/>
                  <a:gd name="connsiteX25" fmla="*/ 98176 w 593676"/>
                  <a:gd name="connsiteY25" fmla="*/ 185771 h 586480"/>
                  <a:gd name="connsiteX26" fmla="*/ 73584 w 593676"/>
                  <a:gd name="connsiteY26" fmla="*/ 258879 h 586480"/>
                  <a:gd name="connsiteX27" fmla="*/ 64576 w 593676"/>
                  <a:gd name="connsiteY27" fmla="*/ 266313 h 586480"/>
                  <a:gd name="connsiteX28" fmla="*/ 0 w 593676"/>
                  <a:gd name="connsiteY28" fmla="*/ 303153 h 586480"/>
                  <a:gd name="connsiteX29" fmla="*/ 19397 w 593676"/>
                  <a:gd name="connsiteY29" fmla="*/ 399327 h 586480"/>
                  <a:gd name="connsiteX30" fmla="*/ 93219 w 593676"/>
                  <a:gd name="connsiteY30" fmla="*/ 408192 h 586480"/>
                  <a:gd name="connsiteX31" fmla="*/ 104418 w 593676"/>
                  <a:gd name="connsiteY31" fmla="*/ 411528 h 586480"/>
                  <a:gd name="connsiteX32" fmla="*/ 155413 w 593676"/>
                  <a:gd name="connsiteY32" fmla="*/ 469337 h 586480"/>
                  <a:gd name="connsiteX33" fmla="*/ 157367 w 593676"/>
                  <a:gd name="connsiteY33" fmla="*/ 480870 h 586480"/>
                  <a:gd name="connsiteX34" fmla="*/ 156986 w 593676"/>
                  <a:gd name="connsiteY34" fmla="*/ 555217 h 586480"/>
                  <a:gd name="connsiteX35" fmla="*/ 249966 w 593676"/>
                  <a:gd name="connsiteY35" fmla="*/ 586481 h 586480"/>
                  <a:gd name="connsiteX36" fmla="*/ 294574 w 593676"/>
                  <a:gd name="connsiteY36" fmla="*/ 527051 h 586480"/>
                  <a:gd name="connsiteX37" fmla="*/ 320643 w 593676"/>
                  <a:gd name="connsiteY37" fmla="*/ 411099 h 586480"/>
                  <a:gd name="connsiteX38" fmla="*/ 179051 w 593676"/>
                  <a:gd name="connsiteY38" fmla="*/ 317069 h 586480"/>
                  <a:gd name="connsiteX39" fmla="*/ 273081 w 593676"/>
                  <a:gd name="connsiteY39" fmla="*/ 175477 h 586480"/>
                  <a:gd name="connsiteX40" fmla="*/ 414673 w 593676"/>
                  <a:gd name="connsiteY40" fmla="*/ 269506 h 586480"/>
                  <a:gd name="connsiteX41" fmla="*/ 320643 w 593676"/>
                  <a:gd name="connsiteY41" fmla="*/ 411099 h 586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593676" h="586480">
                    <a:moveTo>
                      <a:pt x="294574" y="527051"/>
                    </a:moveTo>
                    <a:cubicBezTo>
                      <a:pt x="295670" y="523000"/>
                      <a:pt x="298959" y="519855"/>
                      <a:pt x="303058" y="519045"/>
                    </a:cubicBezTo>
                    <a:lnTo>
                      <a:pt x="378643" y="503794"/>
                    </a:lnTo>
                    <a:cubicBezTo>
                      <a:pt x="382742" y="502984"/>
                      <a:pt x="387031" y="504556"/>
                      <a:pt x="389605" y="507892"/>
                    </a:cubicBezTo>
                    <a:cubicBezTo>
                      <a:pt x="402234" y="524239"/>
                      <a:pt x="435833" y="539585"/>
                      <a:pt x="453800" y="545399"/>
                    </a:cubicBezTo>
                    <a:lnTo>
                      <a:pt x="527384" y="480489"/>
                    </a:lnTo>
                    <a:cubicBezTo>
                      <a:pt x="523857" y="461950"/>
                      <a:pt x="512801" y="426683"/>
                      <a:pt x="498170" y="412100"/>
                    </a:cubicBezTo>
                    <a:cubicBezTo>
                      <a:pt x="495215" y="409145"/>
                      <a:pt x="494167" y="404713"/>
                      <a:pt x="495501" y="400709"/>
                    </a:cubicBezTo>
                    <a:lnTo>
                      <a:pt x="520093" y="327602"/>
                    </a:lnTo>
                    <a:cubicBezTo>
                      <a:pt x="521427" y="323599"/>
                      <a:pt x="524906" y="320739"/>
                      <a:pt x="529100" y="320167"/>
                    </a:cubicBezTo>
                    <a:cubicBezTo>
                      <a:pt x="549545" y="317403"/>
                      <a:pt x="579665" y="296005"/>
                      <a:pt x="593677" y="283327"/>
                    </a:cubicBezTo>
                    <a:lnTo>
                      <a:pt x="574280" y="187153"/>
                    </a:lnTo>
                    <a:cubicBezTo>
                      <a:pt x="556456" y="180910"/>
                      <a:pt x="520379" y="172904"/>
                      <a:pt x="500458" y="178289"/>
                    </a:cubicBezTo>
                    <a:cubicBezTo>
                      <a:pt x="496406" y="179385"/>
                      <a:pt x="492070" y="178098"/>
                      <a:pt x="489258" y="174953"/>
                    </a:cubicBezTo>
                    <a:lnTo>
                      <a:pt x="438264" y="117144"/>
                    </a:lnTo>
                    <a:cubicBezTo>
                      <a:pt x="435500" y="113998"/>
                      <a:pt x="434737" y="109519"/>
                      <a:pt x="436310" y="105611"/>
                    </a:cubicBezTo>
                    <a:cubicBezTo>
                      <a:pt x="444126" y="86500"/>
                      <a:pt x="440694" y="49707"/>
                      <a:pt x="436691" y="31264"/>
                    </a:cubicBezTo>
                    <a:lnTo>
                      <a:pt x="343710" y="0"/>
                    </a:lnTo>
                    <a:cubicBezTo>
                      <a:pt x="329413" y="12344"/>
                      <a:pt x="304392" y="39556"/>
                      <a:pt x="299102" y="59478"/>
                    </a:cubicBezTo>
                    <a:cubicBezTo>
                      <a:pt x="298006" y="63528"/>
                      <a:pt x="294718" y="66674"/>
                      <a:pt x="290619" y="67484"/>
                    </a:cubicBezTo>
                    <a:lnTo>
                      <a:pt x="215033" y="82735"/>
                    </a:lnTo>
                    <a:cubicBezTo>
                      <a:pt x="210935" y="83545"/>
                      <a:pt x="206645" y="81972"/>
                      <a:pt x="204072" y="78636"/>
                    </a:cubicBezTo>
                    <a:cubicBezTo>
                      <a:pt x="191442" y="62289"/>
                      <a:pt x="157844" y="46896"/>
                      <a:pt x="139876" y="41129"/>
                    </a:cubicBezTo>
                    <a:lnTo>
                      <a:pt x="66292" y="106039"/>
                    </a:lnTo>
                    <a:cubicBezTo>
                      <a:pt x="69819" y="124578"/>
                      <a:pt x="80876" y="159845"/>
                      <a:pt x="95506" y="174429"/>
                    </a:cubicBezTo>
                    <a:cubicBezTo>
                      <a:pt x="98509" y="177384"/>
                      <a:pt x="99510" y="181816"/>
                      <a:pt x="98176" y="185771"/>
                    </a:cubicBezTo>
                    <a:lnTo>
                      <a:pt x="73584" y="258879"/>
                    </a:lnTo>
                    <a:cubicBezTo>
                      <a:pt x="72249" y="262882"/>
                      <a:pt x="68723" y="265742"/>
                      <a:pt x="64576" y="266313"/>
                    </a:cubicBezTo>
                    <a:cubicBezTo>
                      <a:pt x="44131" y="269078"/>
                      <a:pt x="14011" y="290476"/>
                      <a:pt x="0" y="303153"/>
                    </a:cubicBezTo>
                    <a:lnTo>
                      <a:pt x="19397" y="399327"/>
                    </a:lnTo>
                    <a:cubicBezTo>
                      <a:pt x="37221" y="405571"/>
                      <a:pt x="73298" y="413577"/>
                      <a:pt x="93219" y="408192"/>
                    </a:cubicBezTo>
                    <a:cubicBezTo>
                      <a:pt x="97270" y="407096"/>
                      <a:pt x="101607" y="408382"/>
                      <a:pt x="104418" y="411528"/>
                    </a:cubicBezTo>
                    <a:lnTo>
                      <a:pt x="155413" y="469337"/>
                    </a:lnTo>
                    <a:cubicBezTo>
                      <a:pt x="158177" y="472482"/>
                      <a:pt x="158940" y="476962"/>
                      <a:pt x="157367" y="480870"/>
                    </a:cubicBezTo>
                    <a:cubicBezTo>
                      <a:pt x="149551" y="499981"/>
                      <a:pt x="153030" y="536773"/>
                      <a:pt x="156986" y="555217"/>
                    </a:cubicBezTo>
                    <a:lnTo>
                      <a:pt x="249966" y="586481"/>
                    </a:lnTo>
                    <a:cubicBezTo>
                      <a:pt x="264312" y="574185"/>
                      <a:pt x="289284" y="546972"/>
                      <a:pt x="294574" y="527051"/>
                    </a:cubicBezTo>
                    <a:close/>
                    <a:moveTo>
                      <a:pt x="320643" y="411099"/>
                    </a:moveTo>
                    <a:cubicBezTo>
                      <a:pt x="255590" y="424252"/>
                      <a:pt x="192157" y="382123"/>
                      <a:pt x="179051" y="317069"/>
                    </a:cubicBezTo>
                    <a:cubicBezTo>
                      <a:pt x="165898" y="252016"/>
                      <a:pt x="208027" y="188583"/>
                      <a:pt x="273081" y="175477"/>
                    </a:cubicBezTo>
                    <a:cubicBezTo>
                      <a:pt x="338134" y="162323"/>
                      <a:pt x="401567" y="204453"/>
                      <a:pt x="414673" y="269506"/>
                    </a:cubicBezTo>
                    <a:cubicBezTo>
                      <a:pt x="427779" y="334560"/>
                      <a:pt x="385697" y="397945"/>
                      <a:pt x="320643" y="411099"/>
                    </a:cubicBezTo>
                    <a:close/>
                  </a:path>
                </a:pathLst>
              </a:custGeom>
              <a:solidFill>
                <a:schemeClr val="accent1">
                  <a:lumMod val="40000"/>
                  <a:lumOff val="60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grpSp>
        <p:sp>
          <p:nvSpPr>
            <p:cNvPr id="30" name="Freeform: Shape 29">
              <a:extLst>
                <a:ext uri="{FF2B5EF4-FFF2-40B4-BE49-F238E27FC236}">
                  <a16:creationId xmlns:a16="http://schemas.microsoft.com/office/drawing/2014/main" id="{0D488AD3-BE78-5344-BC52-768CBFB6B2D6}"/>
                </a:ext>
              </a:extLst>
            </p:cNvPr>
            <p:cNvSpPr/>
            <p:nvPr/>
          </p:nvSpPr>
          <p:spPr>
            <a:xfrm>
              <a:off x="2556950" y="2224574"/>
              <a:ext cx="213055" cy="211001"/>
            </a:xfrm>
            <a:custGeom>
              <a:avLst/>
              <a:gdLst>
                <a:gd name="connsiteX0" fmla="*/ 249374 w 298328"/>
                <a:gd name="connsiteY0" fmla="*/ 273640 h 295452"/>
                <a:gd name="connsiteX1" fmla="*/ 165352 w 298328"/>
                <a:gd name="connsiteY1" fmla="*/ 241995 h 295452"/>
                <a:gd name="connsiteX2" fmla="*/ 91625 w 298328"/>
                <a:gd name="connsiteY2" fmla="*/ 293227 h 295452"/>
                <a:gd name="connsiteX3" fmla="*/ 72276 w 298328"/>
                <a:gd name="connsiteY3" fmla="*/ 282552 h 295452"/>
                <a:gd name="connsiteX4" fmla="*/ 76423 w 298328"/>
                <a:gd name="connsiteY4" fmla="*/ 192859 h 295452"/>
                <a:gd name="connsiteX5" fmla="*/ 4888 w 298328"/>
                <a:gd name="connsiteY5" fmla="*/ 138577 h 295452"/>
                <a:gd name="connsiteX6" fmla="*/ 9082 w 298328"/>
                <a:gd name="connsiteY6" fmla="*/ 116845 h 295452"/>
                <a:gd name="connsiteX7" fmla="*/ 95676 w 298328"/>
                <a:gd name="connsiteY7" fmla="*/ 93063 h 295452"/>
                <a:gd name="connsiteX8" fmla="*/ 125177 w 298328"/>
                <a:gd name="connsiteY8" fmla="*/ 8280 h 295452"/>
                <a:gd name="connsiteX9" fmla="*/ 147147 w 298328"/>
                <a:gd name="connsiteY9" fmla="*/ 5563 h 295452"/>
                <a:gd name="connsiteX10" fmla="*/ 196473 w 298328"/>
                <a:gd name="connsiteY10" fmla="*/ 80577 h 295452"/>
                <a:gd name="connsiteX11" fmla="*/ 286213 w 298328"/>
                <a:gd name="connsiteY11" fmla="*/ 82436 h 295452"/>
                <a:gd name="connsiteX12" fmla="*/ 295602 w 298328"/>
                <a:gd name="connsiteY12" fmla="*/ 102452 h 295452"/>
                <a:gd name="connsiteX13" fmla="*/ 239508 w 298328"/>
                <a:gd name="connsiteY13" fmla="*/ 172557 h 295452"/>
                <a:gd name="connsiteX14" fmla="*/ 265482 w 298328"/>
                <a:gd name="connsiteY14" fmla="*/ 258485 h 295452"/>
                <a:gd name="connsiteX15" fmla="*/ 249374 w 298328"/>
                <a:gd name="connsiteY15" fmla="*/ 273640 h 295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8328" h="295452">
                  <a:moveTo>
                    <a:pt x="249374" y="273640"/>
                  </a:moveTo>
                  <a:lnTo>
                    <a:pt x="165352" y="241995"/>
                  </a:lnTo>
                  <a:lnTo>
                    <a:pt x="91625" y="293227"/>
                  </a:lnTo>
                  <a:cubicBezTo>
                    <a:pt x="83238" y="299042"/>
                    <a:pt x="71800" y="292751"/>
                    <a:pt x="72276" y="282552"/>
                  </a:cubicBezTo>
                  <a:lnTo>
                    <a:pt x="76423" y="192859"/>
                  </a:lnTo>
                  <a:lnTo>
                    <a:pt x="4888" y="138577"/>
                  </a:lnTo>
                  <a:cubicBezTo>
                    <a:pt x="-3262" y="132381"/>
                    <a:pt x="-784" y="119561"/>
                    <a:pt x="9082" y="116845"/>
                  </a:cubicBezTo>
                  <a:lnTo>
                    <a:pt x="95676" y="93063"/>
                  </a:lnTo>
                  <a:lnTo>
                    <a:pt x="125177" y="8280"/>
                  </a:lnTo>
                  <a:cubicBezTo>
                    <a:pt x="128560" y="-1395"/>
                    <a:pt x="141523" y="-2968"/>
                    <a:pt x="147147" y="5563"/>
                  </a:cubicBezTo>
                  <a:lnTo>
                    <a:pt x="196473" y="80577"/>
                  </a:lnTo>
                  <a:lnTo>
                    <a:pt x="286213" y="82436"/>
                  </a:lnTo>
                  <a:cubicBezTo>
                    <a:pt x="296460" y="82626"/>
                    <a:pt x="301988" y="94493"/>
                    <a:pt x="295602" y="102452"/>
                  </a:cubicBezTo>
                  <a:lnTo>
                    <a:pt x="239508" y="172557"/>
                  </a:lnTo>
                  <a:lnTo>
                    <a:pt x="265482" y="258485"/>
                  </a:lnTo>
                  <a:cubicBezTo>
                    <a:pt x="268485" y="268350"/>
                    <a:pt x="258953" y="277262"/>
                    <a:pt x="249374" y="273640"/>
                  </a:cubicBezTo>
                  <a:close/>
                </a:path>
              </a:pathLst>
            </a:custGeom>
            <a:solidFill>
              <a:schemeClr val="accent1">
                <a:lumMod val="75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31" name="Freeform: Shape 30">
              <a:extLst>
                <a:ext uri="{FF2B5EF4-FFF2-40B4-BE49-F238E27FC236}">
                  <a16:creationId xmlns:a16="http://schemas.microsoft.com/office/drawing/2014/main" id="{E505BF8F-CA70-CB56-CDC7-E037FFC0F8F9}"/>
                </a:ext>
              </a:extLst>
            </p:cNvPr>
            <p:cNvSpPr/>
            <p:nvPr/>
          </p:nvSpPr>
          <p:spPr>
            <a:xfrm>
              <a:off x="2525009" y="1844250"/>
              <a:ext cx="301828" cy="227698"/>
            </a:xfrm>
            <a:custGeom>
              <a:avLst/>
              <a:gdLst>
                <a:gd name="connsiteX0" fmla="*/ 422632 w 422631"/>
                <a:gd name="connsiteY0" fmla="*/ 269602 h 318832"/>
                <a:gd name="connsiteX1" fmla="*/ 376976 w 422631"/>
                <a:gd name="connsiteY1" fmla="*/ 146978 h 318832"/>
                <a:gd name="connsiteX2" fmla="*/ 260166 w 422631"/>
                <a:gd name="connsiteY2" fmla="*/ 181911 h 318832"/>
                <a:gd name="connsiteX3" fmla="*/ 209839 w 422631"/>
                <a:gd name="connsiteY3" fmla="*/ 63147 h 318832"/>
                <a:gd name="connsiteX4" fmla="*/ 94077 w 422631"/>
                <a:gd name="connsiteY4" fmla="*/ 82734 h 318832"/>
                <a:gd name="connsiteX5" fmla="*/ 41892 w 422631"/>
                <a:gd name="connsiteY5" fmla="*/ 0 h 318832"/>
                <a:gd name="connsiteX6" fmla="*/ 0 w 422631"/>
                <a:gd name="connsiteY6" fmla="*/ 26450 h 318832"/>
                <a:gd name="connsiteX7" fmla="*/ 69819 w 422631"/>
                <a:gd name="connsiteY7" fmla="*/ 137112 h 318832"/>
                <a:gd name="connsiteX8" fmla="*/ 179480 w 422631"/>
                <a:gd name="connsiteY8" fmla="*/ 118478 h 318832"/>
                <a:gd name="connsiteX9" fmla="*/ 231857 w 422631"/>
                <a:gd name="connsiteY9" fmla="*/ 242056 h 318832"/>
                <a:gd name="connsiteX10" fmla="*/ 346713 w 422631"/>
                <a:gd name="connsiteY10" fmla="*/ 207694 h 318832"/>
                <a:gd name="connsiteX11" fmla="*/ 388128 w 422631"/>
                <a:gd name="connsiteY11" fmla="*/ 318833 h 318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2631" h="318832">
                  <a:moveTo>
                    <a:pt x="422632" y="269602"/>
                  </a:moveTo>
                  <a:lnTo>
                    <a:pt x="376976" y="146978"/>
                  </a:lnTo>
                  <a:lnTo>
                    <a:pt x="260166" y="181911"/>
                  </a:lnTo>
                  <a:lnTo>
                    <a:pt x="209839" y="63147"/>
                  </a:lnTo>
                  <a:lnTo>
                    <a:pt x="94077" y="82734"/>
                  </a:lnTo>
                  <a:lnTo>
                    <a:pt x="41892" y="0"/>
                  </a:lnTo>
                  <a:lnTo>
                    <a:pt x="0" y="26450"/>
                  </a:lnTo>
                  <a:lnTo>
                    <a:pt x="69819" y="137112"/>
                  </a:lnTo>
                  <a:lnTo>
                    <a:pt x="179480" y="118478"/>
                  </a:lnTo>
                  <a:lnTo>
                    <a:pt x="231857" y="242056"/>
                  </a:lnTo>
                  <a:lnTo>
                    <a:pt x="346713" y="207694"/>
                  </a:lnTo>
                  <a:lnTo>
                    <a:pt x="388128" y="318833"/>
                  </a:lnTo>
                  <a:close/>
                </a:path>
              </a:pathLst>
            </a:custGeom>
            <a:solidFill>
              <a:schemeClr val="accent1">
                <a:lumMod val="75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32" name="Freeform: Shape 31">
              <a:extLst>
                <a:ext uri="{FF2B5EF4-FFF2-40B4-BE49-F238E27FC236}">
                  <a16:creationId xmlns:a16="http://schemas.microsoft.com/office/drawing/2014/main" id="{73F42A54-977E-2473-6043-5877F40A763E}"/>
                </a:ext>
              </a:extLst>
            </p:cNvPr>
            <p:cNvSpPr/>
            <p:nvPr/>
          </p:nvSpPr>
          <p:spPr>
            <a:xfrm>
              <a:off x="5990759" y="2395015"/>
              <a:ext cx="346211" cy="138151"/>
            </a:xfrm>
            <a:custGeom>
              <a:avLst/>
              <a:gdLst>
                <a:gd name="connsiteX0" fmla="*/ 478678 w 484778"/>
                <a:gd name="connsiteY0" fmla="*/ 62813 h 193444"/>
                <a:gd name="connsiteX1" fmla="*/ 363917 w 484778"/>
                <a:gd name="connsiteY1" fmla="*/ 0 h 193444"/>
                <a:gd name="connsiteX2" fmla="*/ 298435 w 484778"/>
                <a:gd name="connsiteY2" fmla="*/ 102799 h 193444"/>
                <a:gd name="connsiteX3" fmla="*/ 182673 w 484778"/>
                <a:gd name="connsiteY3" fmla="*/ 45895 h 193444"/>
                <a:gd name="connsiteX4" fmla="*/ 107993 w 484778"/>
                <a:gd name="connsiteY4" fmla="*/ 136445 h 193444"/>
                <a:gd name="connsiteX5" fmla="*/ 14393 w 484778"/>
                <a:gd name="connsiteY5" fmla="*/ 108041 h 193444"/>
                <a:gd name="connsiteX6" fmla="*/ 0 w 484778"/>
                <a:gd name="connsiteY6" fmla="*/ 155413 h 193444"/>
                <a:gd name="connsiteX7" fmla="*/ 125150 w 484778"/>
                <a:gd name="connsiteY7" fmla="*/ 193444 h 193444"/>
                <a:gd name="connsiteX8" fmla="*/ 195970 w 484778"/>
                <a:gd name="connsiteY8" fmla="*/ 107612 h 193444"/>
                <a:gd name="connsiteX9" fmla="*/ 316402 w 484778"/>
                <a:gd name="connsiteY9" fmla="*/ 166851 h 193444"/>
                <a:gd name="connsiteX10" fmla="*/ 380788 w 484778"/>
                <a:gd name="connsiteY10" fmla="*/ 65673 h 193444"/>
                <a:gd name="connsiteX11" fmla="*/ 484778 w 484778"/>
                <a:gd name="connsiteY11" fmla="*/ 122624 h 19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4778" h="193444">
                  <a:moveTo>
                    <a:pt x="478678" y="62813"/>
                  </a:moveTo>
                  <a:lnTo>
                    <a:pt x="363917" y="0"/>
                  </a:lnTo>
                  <a:lnTo>
                    <a:pt x="298435" y="102799"/>
                  </a:lnTo>
                  <a:lnTo>
                    <a:pt x="182673" y="45895"/>
                  </a:lnTo>
                  <a:lnTo>
                    <a:pt x="107993" y="136445"/>
                  </a:lnTo>
                  <a:lnTo>
                    <a:pt x="14393" y="108041"/>
                  </a:lnTo>
                  <a:lnTo>
                    <a:pt x="0" y="155413"/>
                  </a:lnTo>
                  <a:lnTo>
                    <a:pt x="125150" y="193444"/>
                  </a:lnTo>
                  <a:lnTo>
                    <a:pt x="195970" y="107612"/>
                  </a:lnTo>
                  <a:lnTo>
                    <a:pt x="316402" y="166851"/>
                  </a:lnTo>
                  <a:lnTo>
                    <a:pt x="380788" y="65673"/>
                  </a:lnTo>
                  <a:lnTo>
                    <a:pt x="484778" y="122624"/>
                  </a:lnTo>
                  <a:close/>
                </a:path>
              </a:pathLst>
            </a:custGeom>
            <a:solidFill>
              <a:schemeClr val="accent1">
                <a:lumMod val="75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33" name="Freeform: Shape 32">
              <a:extLst>
                <a:ext uri="{FF2B5EF4-FFF2-40B4-BE49-F238E27FC236}">
                  <a16:creationId xmlns:a16="http://schemas.microsoft.com/office/drawing/2014/main" id="{D6AC416B-3BBB-0B48-CBDA-DD19BFFFCF17}"/>
                </a:ext>
              </a:extLst>
            </p:cNvPr>
            <p:cNvSpPr/>
            <p:nvPr/>
          </p:nvSpPr>
          <p:spPr>
            <a:xfrm>
              <a:off x="4137653" y="1327214"/>
              <a:ext cx="157040" cy="341139"/>
            </a:xfrm>
            <a:custGeom>
              <a:avLst/>
              <a:gdLst>
                <a:gd name="connsiteX0" fmla="*/ 49088 w 219894"/>
                <a:gd name="connsiteY0" fmla="*/ 13011 h 477677"/>
                <a:gd name="connsiteX1" fmla="*/ 0 w 219894"/>
                <a:gd name="connsiteY1" fmla="*/ 134253 h 477677"/>
                <a:gd name="connsiteX2" fmla="*/ 109756 w 219894"/>
                <a:gd name="connsiteY2" fmla="*/ 187344 h 477677"/>
                <a:gd name="connsiteX3" fmla="*/ 66674 w 219894"/>
                <a:gd name="connsiteY3" fmla="*/ 308967 h 477677"/>
                <a:gd name="connsiteX4" fmla="*/ 165278 w 219894"/>
                <a:gd name="connsiteY4" fmla="*/ 372639 h 477677"/>
                <a:gd name="connsiteX5" fmla="*/ 147931 w 219894"/>
                <a:gd name="connsiteY5" fmla="*/ 468908 h 477677"/>
                <a:gd name="connsiteX6" fmla="*/ 196685 w 219894"/>
                <a:gd name="connsiteY6" fmla="*/ 477677 h 477677"/>
                <a:gd name="connsiteX7" fmla="*/ 219894 w 219894"/>
                <a:gd name="connsiteY7" fmla="*/ 348953 h 477677"/>
                <a:gd name="connsiteX8" fmla="*/ 126437 w 219894"/>
                <a:gd name="connsiteY8" fmla="*/ 288617 h 477677"/>
                <a:gd name="connsiteX9" fmla="*/ 171236 w 219894"/>
                <a:gd name="connsiteY9" fmla="*/ 162085 h 477677"/>
                <a:gd name="connsiteX10" fmla="*/ 63290 w 219894"/>
                <a:gd name="connsiteY10" fmla="*/ 109900 h 477677"/>
                <a:gd name="connsiteX11" fmla="*/ 107803 w 219894"/>
                <a:gd name="connsiteY11" fmla="*/ 0 h 477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9891" h="477677">
                  <a:moveTo>
                    <a:pt x="49088" y="13011"/>
                  </a:moveTo>
                  <a:lnTo>
                    <a:pt x="0" y="134253"/>
                  </a:lnTo>
                  <a:lnTo>
                    <a:pt x="109756" y="187344"/>
                  </a:lnTo>
                  <a:lnTo>
                    <a:pt x="66674" y="308967"/>
                  </a:lnTo>
                  <a:lnTo>
                    <a:pt x="165278" y="372639"/>
                  </a:lnTo>
                  <a:lnTo>
                    <a:pt x="147931" y="468908"/>
                  </a:lnTo>
                  <a:lnTo>
                    <a:pt x="196685" y="477677"/>
                  </a:lnTo>
                  <a:lnTo>
                    <a:pt x="219894" y="348953"/>
                  </a:lnTo>
                  <a:lnTo>
                    <a:pt x="126437" y="288617"/>
                  </a:lnTo>
                  <a:lnTo>
                    <a:pt x="171236" y="162085"/>
                  </a:lnTo>
                  <a:lnTo>
                    <a:pt x="63290" y="109900"/>
                  </a:lnTo>
                  <a:lnTo>
                    <a:pt x="107803" y="0"/>
                  </a:lnTo>
                  <a:close/>
                </a:path>
              </a:pathLst>
            </a:custGeom>
            <a:solidFill>
              <a:schemeClr val="accent1">
                <a:lumMod val="60000"/>
                <a:lumOff val="40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34" name="Freeform: Shape 33">
              <a:extLst>
                <a:ext uri="{FF2B5EF4-FFF2-40B4-BE49-F238E27FC236}">
                  <a16:creationId xmlns:a16="http://schemas.microsoft.com/office/drawing/2014/main" id="{B5AA9E50-1DE7-2300-756F-55025FD047F7}"/>
                </a:ext>
              </a:extLst>
            </p:cNvPr>
            <p:cNvSpPr/>
            <p:nvPr/>
          </p:nvSpPr>
          <p:spPr>
            <a:xfrm>
              <a:off x="6038341" y="3426840"/>
              <a:ext cx="238931" cy="142269"/>
            </a:xfrm>
            <a:custGeom>
              <a:avLst/>
              <a:gdLst>
                <a:gd name="connsiteX0" fmla="*/ 280659 w 334560"/>
                <a:gd name="connsiteY0" fmla="*/ 199211 h 199211"/>
                <a:gd name="connsiteX1" fmla="*/ 256544 w 334560"/>
                <a:gd name="connsiteY1" fmla="*/ 151696 h 199211"/>
                <a:gd name="connsiteX2" fmla="*/ 202214 w 334560"/>
                <a:gd name="connsiteY2" fmla="*/ 153507 h 199211"/>
                <a:gd name="connsiteX3" fmla="*/ 178956 w 334560"/>
                <a:gd name="connsiteY3" fmla="*/ 98319 h 199211"/>
                <a:gd name="connsiteX4" fmla="*/ 121671 w 334560"/>
                <a:gd name="connsiteY4" fmla="*/ 118145 h 199211"/>
                <a:gd name="connsiteX5" fmla="*/ 92600 w 334560"/>
                <a:gd name="connsiteY5" fmla="*/ 56856 h 199211"/>
                <a:gd name="connsiteX6" fmla="*/ 37602 w 334560"/>
                <a:gd name="connsiteY6" fmla="*/ 68628 h 199211"/>
                <a:gd name="connsiteX7" fmla="*/ 0 w 334560"/>
                <a:gd name="connsiteY7" fmla="*/ 14250 h 199211"/>
                <a:gd name="connsiteX8" fmla="*/ 20589 w 334560"/>
                <a:gd name="connsiteY8" fmla="*/ 0 h 199211"/>
                <a:gd name="connsiteX9" fmla="*/ 48706 w 334560"/>
                <a:gd name="connsiteY9" fmla="*/ 40652 h 199211"/>
                <a:gd name="connsiteX10" fmla="*/ 106707 w 334560"/>
                <a:gd name="connsiteY10" fmla="*/ 28262 h 199211"/>
                <a:gd name="connsiteX11" fmla="*/ 134682 w 334560"/>
                <a:gd name="connsiteY11" fmla="*/ 87167 h 199211"/>
                <a:gd name="connsiteX12" fmla="*/ 192872 w 334560"/>
                <a:gd name="connsiteY12" fmla="*/ 67007 h 199211"/>
                <a:gd name="connsiteX13" fmla="*/ 218560 w 334560"/>
                <a:gd name="connsiteY13" fmla="*/ 127914 h 199211"/>
                <a:gd name="connsiteX14" fmla="*/ 271651 w 334560"/>
                <a:gd name="connsiteY14" fmla="*/ 126103 h 199211"/>
                <a:gd name="connsiteX15" fmla="*/ 294003 w 334560"/>
                <a:gd name="connsiteY15" fmla="*/ 170187 h 199211"/>
                <a:gd name="connsiteX16" fmla="*/ 328603 w 334560"/>
                <a:gd name="connsiteY16" fmla="*/ 161704 h 199211"/>
                <a:gd name="connsiteX17" fmla="*/ 334560 w 334560"/>
                <a:gd name="connsiteY17" fmla="*/ 186010 h 199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4560" h="199211">
                  <a:moveTo>
                    <a:pt x="280659" y="199211"/>
                  </a:moveTo>
                  <a:lnTo>
                    <a:pt x="256544" y="151696"/>
                  </a:lnTo>
                  <a:lnTo>
                    <a:pt x="202214" y="153507"/>
                  </a:lnTo>
                  <a:lnTo>
                    <a:pt x="178956" y="98319"/>
                  </a:lnTo>
                  <a:lnTo>
                    <a:pt x="121671" y="118145"/>
                  </a:lnTo>
                  <a:lnTo>
                    <a:pt x="92600" y="56856"/>
                  </a:lnTo>
                  <a:lnTo>
                    <a:pt x="37602" y="68628"/>
                  </a:lnTo>
                  <a:lnTo>
                    <a:pt x="0" y="14250"/>
                  </a:lnTo>
                  <a:lnTo>
                    <a:pt x="20589" y="0"/>
                  </a:lnTo>
                  <a:lnTo>
                    <a:pt x="48706" y="40652"/>
                  </a:lnTo>
                  <a:lnTo>
                    <a:pt x="106707" y="28262"/>
                  </a:lnTo>
                  <a:lnTo>
                    <a:pt x="134682" y="87167"/>
                  </a:lnTo>
                  <a:lnTo>
                    <a:pt x="192872" y="67007"/>
                  </a:lnTo>
                  <a:lnTo>
                    <a:pt x="218560" y="127914"/>
                  </a:lnTo>
                  <a:lnTo>
                    <a:pt x="271651" y="126103"/>
                  </a:lnTo>
                  <a:lnTo>
                    <a:pt x="294003" y="170187"/>
                  </a:lnTo>
                  <a:lnTo>
                    <a:pt x="328603" y="161704"/>
                  </a:lnTo>
                  <a:lnTo>
                    <a:pt x="334560" y="186010"/>
                  </a:lnTo>
                  <a:close/>
                </a:path>
              </a:pathLst>
            </a:custGeom>
            <a:solidFill>
              <a:schemeClr val="accent1">
                <a:lumMod val="40000"/>
                <a:lumOff val="60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35" name="Freeform: Shape 34">
              <a:extLst>
                <a:ext uri="{FF2B5EF4-FFF2-40B4-BE49-F238E27FC236}">
                  <a16:creationId xmlns:a16="http://schemas.microsoft.com/office/drawing/2014/main" id="{59FFAADC-407A-2B9C-02E3-383D205D8408}"/>
                </a:ext>
              </a:extLst>
            </p:cNvPr>
            <p:cNvSpPr/>
            <p:nvPr/>
          </p:nvSpPr>
          <p:spPr>
            <a:xfrm>
              <a:off x="5459769" y="1753409"/>
              <a:ext cx="168204" cy="251830"/>
            </a:xfrm>
            <a:custGeom>
              <a:avLst/>
              <a:gdLst>
                <a:gd name="connsiteX0" fmla="*/ 86500 w 235526"/>
                <a:gd name="connsiteY0" fmla="*/ 340755 h 352622"/>
                <a:gd name="connsiteX1" fmla="*/ 61098 w 235526"/>
                <a:gd name="connsiteY1" fmla="*/ 265217 h 352622"/>
                <a:gd name="connsiteX2" fmla="*/ 178098 w 235526"/>
                <a:gd name="connsiteY2" fmla="*/ 210935 h 352622"/>
                <a:gd name="connsiteX3" fmla="*/ 154603 w 235526"/>
                <a:gd name="connsiteY3" fmla="*/ 95888 h 352622"/>
                <a:gd name="connsiteX4" fmla="*/ 235527 w 235526"/>
                <a:gd name="connsiteY4" fmla="*/ 40938 h 352622"/>
                <a:gd name="connsiteX5" fmla="*/ 207741 w 235526"/>
                <a:gd name="connsiteY5" fmla="*/ 0 h 352622"/>
                <a:gd name="connsiteX6" fmla="*/ 99462 w 235526"/>
                <a:gd name="connsiteY6" fmla="*/ 73441 h 352622"/>
                <a:gd name="connsiteX7" fmla="*/ 121767 w 235526"/>
                <a:gd name="connsiteY7" fmla="*/ 182483 h 352622"/>
                <a:gd name="connsiteX8" fmla="*/ 0 w 235526"/>
                <a:gd name="connsiteY8" fmla="*/ 238958 h 352622"/>
                <a:gd name="connsiteX9" fmla="*/ 38222 w 235526"/>
                <a:gd name="connsiteY9" fmla="*/ 352622 h 352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5526" h="352622">
                  <a:moveTo>
                    <a:pt x="86500" y="340755"/>
                  </a:moveTo>
                  <a:lnTo>
                    <a:pt x="61098" y="265217"/>
                  </a:lnTo>
                  <a:lnTo>
                    <a:pt x="178098" y="210935"/>
                  </a:lnTo>
                  <a:lnTo>
                    <a:pt x="154603" y="95888"/>
                  </a:lnTo>
                  <a:lnTo>
                    <a:pt x="235527" y="40938"/>
                  </a:lnTo>
                  <a:lnTo>
                    <a:pt x="207741" y="0"/>
                  </a:lnTo>
                  <a:lnTo>
                    <a:pt x="99462" y="73441"/>
                  </a:lnTo>
                  <a:lnTo>
                    <a:pt x="121767" y="182483"/>
                  </a:lnTo>
                  <a:lnTo>
                    <a:pt x="0" y="238958"/>
                  </a:lnTo>
                  <a:lnTo>
                    <a:pt x="38222" y="352622"/>
                  </a:lnTo>
                  <a:close/>
                </a:path>
              </a:pathLst>
            </a:custGeom>
            <a:solidFill>
              <a:schemeClr val="accent1">
                <a:lumMod val="40000"/>
                <a:lumOff val="60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grpSp>
          <p:nvGrpSpPr>
            <p:cNvPr id="36" name="Graphic 2">
              <a:extLst>
                <a:ext uri="{FF2B5EF4-FFF2-40B4-BE49-F238E27FC236}">
                  <a16:creationId xmlns:a16="http://schemas.microsoft.com/office/drawing/2014/main" id="{76BEC8CC-506D-EE9A-8620-4F6F728C8185}"/>
                </a:ext>
              </a:extLst>
            </p:cNvPr>
            <p:cNvGrpSpPr/>
            <p:nvPr/>
          </p:nvGrpSpPr>
          <p:grpSpPr>
            <a:xfrm>
              <a:off x="5700252" y="1792198"/>
              <a:ext cx="522101" cy="469407"/>
              <a:chOff x="6388422" y="886806"/>
              <a:chExt cx="731067" cy="657283"/>
            </a:xfrm>
          </p:grpSpPr>
          <p:sp>
            <p:nvSpPr>
              <p:cNvPr id="37" name="Freeform: Shape 36">
                <a:extLst>
                  <a:ext uri="{FF2B5EF4-FFF2-40B4-BE49-F238E27FC236}">
                    <a16:creationId xmlns:a16="http://schemas.microsoft.com/office/drawing/2014/main" id="{EB8C7987-2350-8078-3123-A24D36B52900}"/>
                  </a:ext>
                </a:extLst>
              </p:cNvPr>
              <p:cNvSpPr/>
              <p:nvPr/>
            </p:nvSpPr>
            <p:spPr>
              <a:xfrm>
                <a:off x="6388422" y="886806"/>
                <a:ext cx="731067" cy="657283"/>
              </a:xfrm>
              <a:custGeom>
                <a:avLst/>
                <a:gdLst>
                  <a:gd name="connsiteX0" fmla="*/ 687295 w 731067"/>
                  <a:gd name="connsiteY0" fmla="*/ 112203 h 657283"/>
                  <a:gd name="connsiteX1" fmla="*/ 411021 w 731067"/>
                  <a:gd name="connsiteY1" fmla="*/ 542365 h 657283"/>
                  <a:gd name="connsiteX2" fmla="*/ 289779 w 731067"/>
                  <a:gd name="connsiteY2" fmla="*/ 567338 h 657283"/>
                  <a:gd name="connsiteX3" fmla="*/ 162723 w 731067"/>
                  <a:gd name="connsiteY3" fmla="*/ 645688 h 657283"/>
                  <a:gd name="connsiteX4" fmla="*/ 61639 w 731067"/>
                  <a:gd name="connsiteY4" fmla="*/ 624194 h 657283"/>
                  <a:gd name="connsiteX5" fmla="*/ 12743 w 731067"/>
                  <a:gd name="connsiteY5" fmla="*/ 549466 h 657283"/>
                  <a:gd name="connsiteX6" fmla="*/ 29423 w 731067"/>
                  <a:gd name="connsiteY6" fmla="*/ 441997 h 657283"/>
                  <a:gd name="connsiteX7" fmla="*/ 208665 w 731067"/>
                  <a:gd name="connsiteY7" fmla="*/ 233159 h 657283"/>
                  <a:gd name="connsiteX8" fmla="*/ 687295 w 731067"/>
                  <a:gd name="connsiteY8" fmla="*/ 112203 h 65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1067" h="657283">
                    <a:moveTo>
                      <a:pt x="687295" y="112203"/>
                    </a:moveTo>
                    <a:cubicBezTo>
                      <a:pt x="816354" y="309412"/>
                      <a:pt x="640828" y="583112"/>
                      <a:pt x="411021" y="542365"/>
                    </a:cubicBezTo>
                    <a:cubicBezTo>
                      <a:pt x="369749" y="535073"/>
                      <a:pt x="326714" y="544557"/>
                      <a:pt x="289779" y="567338"/>
                    </a:cubicBezTo>
                    <a:lnTo>
                      <a:pt x="162723" y="645688"/>
                    </a:lnTo>
                    <a:cubicBezTo>
                      <a:pt x="127694" y="667277"/>
                      <a:pt x="83705" y="657936"/>
                      <a:pt x="61639" y="624194"/>
                    </a:cubicBezTo>
                    <a:lnTo>
                      <a:pt x="12743" y="549466"/>
                    </a:lnTo>
                    <a:cubicBezTo>
                      <a:pt x="-9323" y="515724"/>
                      <a:pt x="-2080" y="468971"/>
                      <a:pt x="29423" y="441997"/>
                    </a:cubicBezTo>
                    <a:cubicBezTo>
                      <a:pt x="144327" y="343583"/>
                      <a:pt x="193224" y="315655"/>
                      <a:pt x="208665" y="233159"/>
                    </a:cubicBezTo>
                    <a:cubicBezTo>
                      <a:pt x="253845" y="-8229"/>
                      <a:pt x="558237" y="-85006"/>
                      <a:pt x="687295" y="112203"/>
                    </a:cubicBezTo>
                    <a:close/>
                  </a:path>
                </a:pathLst>
              </a:custGeom>
              <a:solidFill>
                <a:schemeClr val="bg1"/>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38" name="Freeform: Shape 37">
                <a:extLst>
                  <a:ext uri="{FF2B5EF4-FFF2-40B4-BE49-F238E27FC236}">
                    <a16:creationId xmlns:a16="http://schemas.microsoft.com/office/drawing/2014/main" id="{7935C4F7-F2A7-343F-F263-BCF29B39B8FB}"/>
                  </a:ext>
                </a:extLst>
              </p:cNvPr>
              <p:cNvSpPr/>
              <p:nvPr/>
            </p:nvSpPr>
            <p:spPr>
              <a:xfrm>
                <a:off x="6532939" y="992107"/>
                <a:ext cx="436283" cy="456793"/>
              </a:xfrm>
              <a:custGeom>
                <a:avLst/>
                <a:gdLst>
                  <a:gd name="connsiteX0" fmla="*/ 239720 w 436283"/>
                  <a:gd name="connsiteY0" fmla="*/ 115419 h 456793"/>
                  <a:gd name="connsiteX1" fmla="*/ 233716 w 436283"/>
                  <a:gd name="connsiteY1" fmla="*/ 80676 h 456793"/>
                  <a:gd name="connsiteX2" fmla="*/ 309206 w 436283"/>
                  <a:gd name="connsiteY2" fmla="*/ 5662 h 456793"/>
                  <a:gd name="connsiteX3" fmla="*/ 324123 w 436283"/>
                  <a:gd name="connsiteY3" fmla="*/ 68476 h 456793"/>
                  <a:gd name="connsiteX4" fmla="*/ 274320 w 436283"/>
                  <a:gd name="connsiteY4" fmla="*/ 124998 h 456793"/>
                  <a:gd name="connsiteX5" fmla="*/ 325457 w 436283"/>
                  <a:gd name="connsiteY5" fmla="*/ 229989 h 456793"/>
                  <a:gd name="connsiteX6" fmla="*/ 436119 w 436283"/>
                  <a:gd name="connsiteY6" fmla="*/ 247098 h 456793"/>
                  <a:gd name="connsiteX7" fmla="*/ 402568 w 436283"/>
                  <a:gd name="connsiteY7" fmla="*/ 301047 h 456793"/>
                  <a:gd name="connsiteX8" fmla="*/ 318022 w 436283"/>
                  <a:gd name="connsiteY8" fmla="*/ 271118 h 456793"/>
                  <a:gd name="connsiteX9" fmla="*/ 73108 w 436283"/>
                  <a:gd name="connsiteY9" fmla="*/ 456794 h 456793"/>
                  <a:gd name="connsiteX10" fmla="*/ 55522 w 436283"/>
                  <a:gd name="connsiteY10" fmla="*/ 432345 h 456793"/>
                  <a:gd name="connsiteX11" fmla="*/ 299245 w 436283"/>
                  <a:gd name="connsiteY11" fmla="*/ 247480 h 456793"/>
                  <a:gd name="connsiteX12" fmla="*/ 248633 w 436283"/>
                  <a:gd name="connsiteY12" fmla="*/ 147541 h 456793"/>
                  <a:gd name="connsiteX13" fmla="*/ 17491 w 436283"/>
                  <a:gd name="connsiteY13" fmla="*/ 339507 h 456793"/>
                  <a:gd name="connsiteX14" fmla="*/ 0 w 436283"/>
                  <a:gd name="connsiteY14" fmla="*/ 315011 h 456793"/>
                  <a:gd name="connsiteX15" fmla="*/ 239720 w 436283"/>
                  <a:gd name="connsiteY15" fmla="*/ 115419 h 456793"/>
                  <a:gd name="connsiteX16" fmla="*/ 290714 w 436283"/>
                  <a:gd name="connsiteY16" fmla="*/ 31398 h 456793"/>
                  <a:gd name="connsiteX17" fmla="*/ 266504 w 436283"/>
                  <a:gd name="connsiteY17" fmla="*/ 91924 h 456793"/>
                  <a:gd name="connsiteX18" fmla="*/ 290714 w 436283"/>
                  <a:gd name="connsiteY18" fmla="*/ 31398 h 456793"/>
                  <a:gd name="connsiteX19" fmla="*/ 344807 w 436283"/>
                  <a:gd name="connsiteY19" fmla="*/ 253628 h 456793"/>
                  <a:gd name="connsiteX20" fmla="*/ 399327 w 436283"/>
                  <a:gd name="connsiteY20" fmla="*/ 266829 h 456793"/>
                  <a:gd name="connsiteX21" fmla="*/ 344807 w 436283"/>
                  <a:gd name="connsiteY21" fmla="*/ 253628 h 456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36283" h="456793">
                    <a:moveTo>
                      <a:pt x="239720" y="115419"/>
                    </a:moveTo>
                    <a:cubicBezTo>
                      <a:pt x="237194" y="104696"/>
                      <a:pt x="234716" y="92639"/>
                      <a:pt x="233716" y="80676"/>
                    </a:cubicBezTo>
                    <a:cubicBezTo>
                      <a:pt x="227854" y="11715"/>
                      <a:pt x="281135" y="-12114"/>
                      <a:pt x="309206" y="5662"/>
                    </a:cubicBezTo>
                    <a:cubicBezTo>
                      <a:pt x="327173" y="17053"/>
                      <a:pt x="334465" y="43455"/>
                      <a:pt x="324123" y="68476"/>
                    </a:cubicBezTo>
                    <a:cubicBezTo>
                      <a:pt x="314830" y="90970"/>
                      <a:pt x="294718" y="107174"/>
                      <a:pt x="274320" y="124998"/>
                    </a:cubicBezTo>
                    <a:cubicBezTo>
                      <a:pt x="285329" y="163268"/>
                      <a:pt x="302486" y="198535"/>
                      <a:pt x="325457" y="229989"/>
                    </a:cubicBezTo>
                    <a:cubicBezTo>
                      <a:pt x="388271" y="192101"/>
                      <a:pt x="433165" y="212832"/>
                      <a:pt x="436119" y="247098"/>
                    </a:cubicBezTo>
                    <a:cubicBezTo>
                      <a:pt x="437978" y="269069"/>
                      <a:pt x="423871" y="291754"/>
                      <a:pt x="402568" y="301047"/>
                    </a:cubicBezTo>
                    <a:cubicBezTo>
                      <a:pt x="389843" y="306576"/>
                      <a:pt x="356959" y="314201"/>
                      <a:pt x="318022" y="271118"/>
                    </a:cubicBezTo>
                    <a:cubicBezTo>
                      <a:pt x="211936" y="345894"/>
                      <a:pt x="73537" y="456460"/>
                      <a:pt x="73108" y="456794"/>
                    </a:cubicBezTo>
                    <a:lnTo>
                      <a:pt x="55522" y="432345"/>
                    </a:lnTo>
                    <a:cubicBezTo>
                      <a:pt x="55951" y="432012"/>
                      <a:pt x="193587" y="322208"/>
                      <a:pt x="299245" y="247480"/>
                    </a:cubicBezTo>
                    <a:cubicBezTo>
                      <a:pt x="277370" y="217217"/>
                      <a:pt x="260404" y="183666"/>
                      <a:pt x="248633" y="147541"/>
                    </a:cubicBezTo>
                    <a:cubicBezTo>
                      <a:pt x="127772" y="253056"/>
                      <a:pt x="21208" y="336505"/>
                      <a:pt x="17491" y="339507"/>
                    </a:cubicBezTo>
                    <a:lnTo>
                      <a:pt x="0" y="315011"/>
                    </a:lnTo>
                    <a:cubicBezTo>
                      <a:pt x="7721" y="308720"/>
                      <a:pt x="110948" y="228369"/>
                      <a:pt x="239720" y="115419"/>
                    </a:cubicBezTo>
                    <a:close/>
                    <a:moveTo>
                      <a:pt x="290714" y="31398"/>
                    </a:moveTo>
                    <a:cubicBezTo>
                      <a:pt x="281374" y="27823"/>
                      <a:pt x="256449" y="38165"/>
                      <a:pt x="266504" y="91924"/>
                    </a:cubicBezTo>
                    <a:cubicBezTo>
                      <a:pt x="294480" y="67380"/>
                      <a:pt x="303011" y="56609"/>
                      <a:pt x="290714" y="31398"/>
                    </a:cubicBezTo>
                    <a:close/>
                    <a:moveTo>
                      <a:pt x="344807" y="253628"/>
                    </a:moveTo>
                    <a:cubicBezTo>
                      <a:pt x="360248" y="269688"/>
                      <a:pt x="383600" y="284224"/>
                      <a:pt x="399327" y="266829"/>
                    </a:cubicBezTo>
                    <a:cubicBezTo>
                      <a:pt x="419487" y="244620"/>
                      <a:pt x="390654" y="227940"/>
                      <a:pt x="344807" y="253628"/>
                    </a:cubicBezTo>
                    <a:close/>
                  </a:path>
                </a:pathLst>
              </a:custGeom>
              <a:solidFill>
                <a:schemeClr val="accent1">
                  <a:lumMod val="75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39" name="Freeform: Shape 38">
                <a:extLst>
                  <a:ext uri="{FF2B5EF4-FFF2-40B4-BE49-F238E27FC236}">
                    <a16:creationId xmlns:a16="http://schemas.microsoft.com/office/drawing/2014/main" id="{B75CF081-47E0-E118-59DF-7273BFDD108B}"/>
                  </a:ext>
                </a:extLst>
              </p:cNvPr>
              <p:cNvSpPr/>
              <p:nvPr/>
            </p:nvSpPr>
            <p:spPr>
              <a:xfrm>
                <a:off x="6388469" y="1228292"/>
                <a:ext cx="293020" cy="315797"/>
              </a:xfrm>
              <a:custGeom>
                <a:avLst/>
                <a:gdLst>
                  <a:gd name="connsiteX0" fmla="*/ 293020 w 293020"/>
                  <a:gd name="connsiteY0" fmla="*/ 224041 h 315797"/>
                  <a:gd name="connsiteX1" fmla="*/ 289779 w 293020"/>
                  <a:gd name="connsiteY1" fmla="*/ 225852 h 315797"/>
                  <a:gd name="connsiteX2" fmla="*/ 162723 w 293020"/>
                  <a:gd name="connsiteY2" fmla="*/ 304202 h 315797"/>
                  <a:gd name="connsiteX3" fmla="*/ 61640 w 293020"/>
                  <a:gd name="connsiteY3" fmla="*/ 282708 h 315797"/>
                  <a:gd name="connsiteX4" fmla="*/ 12743 w 293020"/>
                  <a:gd name="connsiteY4" fmla="*/ 207980 h 315797"/>
                  <a:gd name="connsiteX5" fmla="*/ 29423 w 293020"/>
                  <a:gd name="connsiteY5" fmla="*/ 100511 h 315797"/>
                  <a:gd name="connsiteX6" fmla="*/ 146424 w 293020"/>
                  <a:gd name="connsiteY6" fmla="*/ 0 h 315797"/>
                  <a:gd name="connsiteX7" fmla="*/ 293020 w 293020"/>
                  <a:gd name="connsiteY7" fmla="*/ 224041 h 31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3020" h="315797">
                    <a:moveTo>
                      <a:pt x="293020" y="224041"/>
                    </a:moveTo>
                    <a:cubicBezTo>
                      <a:pt x="291972" y="224660"/>
                      <a:pt x="290828" y="225185"/>
                      <a:pt x="289779" y="225852"/>
                    </a:cubicBezTo>
                    <a:lnTo>
                      <a:pt x="162723" y="304202"/>
                    </a:lnTo>
                    <a:cubicBezTo>
                      <a:pt x="127694" y="325791"/>
                      <a:pt x="83705" y="316450"/>
                      <a:pt x="61640" y="282708"/>
                    </a:cubicBezTo>
                    <a:lnTo>
                      <a:pt x="12743" y="207980"/>
                    </a:lnTo>
                    <a:cubicBezTo>
                      <a:pt x="-9323" y="174238"/>
                      <a:pt x="-2079" y="127485"/>
                      <a:pt x="29423" y="100511"/>
                    </a:cubicBezTo>
                    <a:cubicBezTo>
                      <a:pt x="80560" y="56713"/>
                      <a:pt x="118592" y="26927"/>
                      <a:pt x="146424" y="0"/>
                    </a:cubicBezTo>
                    <a:lnTo>
                      <a:pt x="293020" y="224041"/>
                    </a:lnTo>
                    <a:close/>
                  </a:path>
                </a:pathLst>
              </a:custGeom>
              <a:solidFill>
                <a:schemeClr val="accent1">
                  <a:lumMod val="75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grpSp>
        <p:grpSp>
          <p:nvGrpSpPr>
            <p:cNvPr id="40" name="Graphic 2">
              <a:extLst>
                <a:ext uri="{FF2B5EF4-FFF2-40B4-BE49-F238E27FC236}">
                  <a16:creationId xmlns:a16="http://schemas.microsoft.com/office/drawing/2014/main" id="{B90952D2-C3E6-53B5-6F1A-1A96622FEFD0}"/>
                </a:ext>
              </a:extLst>
            </p:cNvPr>
            <p:cNvGrpSpPr/>
            <p:nvPr/>
          </p:nvGrpSpPr>
          <p:grpSpPr>
            <a:xfrm>
              <a:off x="1622579" y="3551531"/>
              <a:ext cx="1023715" cy="2473429"/>
              <a:chOff x="678703" y="3350293"/>
              <a:chExt cx="1433447" cy="3463394"/>
            </a:xfrm>
          </p:grpSpPr>
          <p:sp>
            <p:nvSpPr>
              <p:cNvPr id="41" name="Freeform: Shape 40">
                <a:extLst>
                  <a:ext uri="{FF2B5EF4-FFF2-40B4-BE49-F238E27FC236}">
                    <a16:creationId xmlns:a16="http://schemas.microsoft.com/office/drawing/2014/main" id="{B747ED32-1BA9-182A-F319-DAA4D874C9C3}"/>
                  </a:ext>
                </a:extLst>
              </p:cNvPr>
              <p:cNvSpPr/>
              <p:nvPr/>
            </p:nvSpPr>
            <p:spPr>
              <a:xfrm>
                <a:off x="847677" y="4124665"/>
                <a:ext cx="325823" cy="1071735"/>
              </a:xfrm>
              <a:custGeom>
                <a:avLst/>
                <a:gdLst>
                  <a:gd name="connsiteX0" fmla="*/ 129615 w 325823"/>
                  <a:gd name="connsiteY0" fmla="*/ 1029701 h 1071735"/>
                  <a:gd name="connsiteX1" fmla="*/ 124658 w 325823"/>
                  <a:gd name="connsiteY1" fmla="*/ 1002679 h 1071735"/>
                  <a:gd name="connsiteX2" fmla="*/ 122514 w 325823"/>
                  <a:gd name="connsiteY2" fmla="*/ 970510 h 1071735"/>
                  <a:gd name="connsiteX3" fmla="*/ 128709 w 325823"/>
                  <a:gd name="connsiteY3" fmla="*/ 886584 h 1071735"/>
                  <a:gd name="connsiteX4" fmla="*/ 144865 w 325823"/>
                  <a:gd name="connsiteY4" fmla="*/ 906791 h 1071735"/>
                  <a:gd name="connsiteX5" fmla="*/ 151156 w 325823"/>
                  <a:gd name="connsiteY5" fmla="*/ 923138 h 1071735"/>
                  <a:gd name="connsiteX6" fmla="*/ 165025 w 325823"/>
                  <a:gd name="connsiteY6" fmla="*/ 929476 h 1071735"/>
                  <a:gd name="connsiteX7" fmla="*/ 166407 w 325823"/>
                  <a:gd name="connsiteY7" fmla="*/ 897783 h 1071735"/>
                  <a:gd name="connsiteX8" fmla="*/ 121846 w 325823"/>
                  <a:gd name="connsiteY8" fmla="*/ 809378 h 1071735"/>
                  <a:gd name="connsiteX9" fmla="*/ 150108 w 325823"/>
                  <a:gd name="connsiteY9" fmla="*/ 604543 h 1071735"/>
                  <a:gd name="connsiteX10" fmla="*/ 150108 w 325823"/>
                  <a:gd name="connsiteY10" fmla="*/ 604543 h 1071735"/>
                  <a:gd name="connsiteX11" fmla="*/ 177892 w 325823"/>
                  <a:gd name="connsiteY11" fmla="*/ 427827 h 1071735"/>
                  <a:gd name="connsiteX12" fmla="*/ 325823 w 325823"/>
                  <a:gd name="connsiteY12" fmla="*/ 100845 h 1071735"/>
                  <a:gd name="connsiteX13" fmla="*/ 227075 w 325823"/>
                  <a:gd name="connsiteY13" fmla="*/ 0 h 1071735"/>
                  <a:gd name="connsiteX14" fmla="*/ 51408 w 325823"/>
                  <a:gd name="connsiteY14" fmla="*/ 379549 h 1071735"/>
                  <a:gd name="connsiteX15" fmla="*/ 37730 w 325823"/>
                  <a:gd name="connsiteY15" fmla="*/ 583097 h 1071735"/>
                  <a:gd name="connsiteX16" fmla="*/ 39112 w 325823"/>
                  <a:gd name="connsiteY16" fmla="*/ 780163 h 1071735"/>
                  <a:gd name="connsiteX17" fmla="*/ 14473 w 325823"/>
                  <a:gd name="connsiteY17" fmla="*/ 858942 h 1071735"/>
                  <a:gd name="connsiteX18" fmla="*/ 4417 w 325823"/>
                  <a:gd name="connsiteY18" fmla="*/ 930429 h 1071735"/>
                  <a:gd name="connsiteX19" fmla="*/ 1796 w 325823"/>
                  <a:gd name="connsiteY19" fmla="*/ 1000677 h 1071735"/>
                  <a:gd name="connsiteX20" fmla="*/ 17285 w 325823"/>
                  <a:gd name="connsiteY20" fmla="*/ 1000153 h 1071735"/>
                  <a:gd name="connsiteX21" fmla="*/ 25053 w 325823"/>
                  <a:gd name="connsiteY21" fmla="*/ 938340 h 1071735"/>
                  <a:gd name="connsiteX22" fmla="*/ 29819 w 325823"/>
                  <a:gd name="connsiteY22" fmla="*/ 1009971 h 1071735"/>
                  <a:gd name="connsiteX23" fmla="*/ 33345 w 325823"/>
                  <a:gd name="connsiteY23" fmla="*/ 1037183 h 1071735"/>
                  <a:gd name="connsiteX24" fmla="*/ 51694 w 325823"/>
                  <a:gd name="connsiteY24" fmla="*/ 1039948 h 1071735"/>
                  <a:gd name="connsiteX25" fmla="*/ 50455 w 325823"/>
                  <a:gd name="connsiteY25" fmla="*/ 1007445 h 1071735"/>
                  <a:gd name="connsiteX26" fmla="*/ 51122 w 325823"/>
                  <a:gd name="connsiteY26" fmla="*/ 976848 h 1071735"/>
                  <a:gd name="connsiteX27" fmla="*/ 51980 w 325823"/>
                  <a:gd name="connsiteY27" fmla="*/ 945346 h 1071735"/>
                  <a:gd name="connsiteX28" fmla="*/ 57174 w 325823"/>
                  <a:gd name="connsiteY28" fmla="*/ 952161 h 1071735"/>
                  <a:gd name="connsiteX29" fmla="*/ 61464 w 325823"/>
                  <a:gd name="connsiteY29" fmla="*/ 1007873 h 1071735"/>
                  <a:gd name="connsiteX30" fmla="*/ 67421 w 325823"/>
                  <a:gd name="connsiteY30" fmla="*/ 1038613 h 1071735"/>
                  <a:gd name="connsiteX31" fmla="*/ 79049 w 325823"/>
                  <a:gd name="connsiteY31" fmla="*/ 1071735 h 1071735"/>
                  <a:gd name="connsiteX32" fmla="*/ 85054 w 325823"/>
                  <a:gd name="connsiteY32" fmla="*/ 1032560 h 1071735"/>
                  <a:gd name="connsiteX33" fmla="*/ 81766 w 325823"/>
                  <a:gd name="connsiteY33" fmla="*/ 1000820 h 1071735"/>
                  <a:gd name="connsiteX34" fmla="*/ 89439 w 325823"/>
                  <a:gd name="connsiteY34" fmla="*/ 954449 h 1071735"/>
                  <a:gd name="connsiteX35" fmla="*/ 124849 w 325823"/>
                  <a:gd name="connsiteY35" fmla="*/ 1064396 h 1071735"/>
                  <a:gd name="connsiteX36" fmla="*/ 129615 w 325823"/>
                  <a:gd name="connsiteY36" fmla="*/ 1029701 h 1071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25823" h="1071735">
                    <a:moveTo>
                      <a:pt x="129615" y="1029701"/>
                    </a:moveTo>
                    <a:cubicBezTo>
                      <a:pt x="129615" y="1029701"/>
                      <a:pt x="125468" y="1009494"/>
                      <a:pt x="124658" y="1002679"/>
                    </a:cubicBezTo>
                    <a:cubicBezTo>
                      <a:pt x="123657" y="994673"/>
                      <a:pt x="122514" y="970510"/>
                      <a:pt x="122514" y="970510"/>
                    </a:cubicBezTo>
                    <a:cubicBezTo>
                      <a:pt x="122514" y="970510"/>
                      <a:pt x="122466" y="886107"/>
                      <a:pt x="128709" y="886584"/>
                    </a:cubicBezTo>
                    <a:cubicBezTo>
                      <a:pt x="134952" y="887060"/>
                      <a:pt x="143054" y="901548"/>
                      <a:pt x="144865" y="906791"/>
                    </a:cubicBezTo>
                    <a:cubicBezTo>
                      <a:pt x="146676" y="911985"/>
                      <a:pt x="149345" y="917895"/>
                      <a:pt x="151156" y="923138"/>
                    </a:cubicBezTo>
                    <a:cubicBezTo>
                      <a:pt x="152967" y="928332"/>
                      <a:pt x="158353" y="931287"/>
                      <a:pt x="165025" y="929476"/>
                    </a:cubicBezTo>
                    <a:cubicBezTo>
                      <a:pt x="171649" y="927665"/>
                      <a:pt x="168885" y="905314"/>
                      <a:pt x="166407" y="897783"/>
                    </a:cubicBezTo>
                    <a:cubicBezTo>
                      <a:pt x="158591" y="874288"/>
                      <a:pt x="125135" y="815764"/>
                      <a:pt x="121846" y="809378"/>
                    </a:cubicBezTo>
                    <a:cubicBezTo>
                      <a:pt x="117986" y="801847"/>
                      <a:pt x="144913" y="655442"/>
                      <a:pt x="150108" y="604543"/>
                    </a:cubicBezTo>
                    <a:lnTo>
                      <a:pt x="150108" y="604543"/>
                    </a:lnTo>
                    <a:cubicBezTo>
                      <a:pt x="161164" y="521475"/>
                      <a:pt x="176701" y="436644"/>
                      <a:pt x="177892" y="427827"/>
                    </a:cubicBezTo>
                    <a:lnTo>
                      <a:pt x="325823" y="100845"/>
                    </a:lnTo>
                    <a:lnTo>
                      <a:pt x="227075" y="0"/>
                    </a:lnTo>
                    <a:cubicBezTo>
                      <a:pt x="227075" y="0"/>
                      <a:pt x="57794" y="360581"/>
                      <a:pt x="51408" y="379549"/>
                    </a:cubicBezTo>
                    <a:cubicBezTo>
                      <a:pt x="48358" y="388604"/>
                      <a:pt x="37682" y="583097"/>
                      <a:pt x="37730" y="583097"/>
                    </a:cubicBezTo>
                    <a:cubicBezTo>
                      <a:pt x="38492" y="679223"/>
                      <a:pt x="39398" y="763912"/>
                      <a:pt x="39112" y="780163"/>
                    </a:cubicBezTo>
                    <a:cubicBezTo>
                      <a:pt x="39112" y="780163"/>
                      <a:pt x="25196" y="828584"/>
                      <a:pt x="14473" y="858942"/>
                    </a:cubicBezTo>
                    <a:cubicBezTo>
                      <a:pt x="3797" y="889253"/>
                      <a:pt x="6133" y="921469"/>
                      <a:pt x="4417" y="930429"/>
                    </a:cubicBezTo>
                    <a:cubicBezTo>
                      <a:pt x="4179" y="931764"/>
                      <a:pt x="-3351" y="962360"/>
                      <a:pt x="1796" y="1000677"/>
                    </a:cubicBezTo>
                    <a:cubicBezTo>
                      <a:pt x="6228" y="1033704"/>
                      <a:pt x="17285" y="1000153"/>
                      <a:pt x="17285" y="1000153"/>
                    </a:cubicBezTo>
                    <a:cubicBezTo>
                      <a:pt x="17285" y="1000153"/>
                      <a:pt x="20144" y="937340"/>
                      <a:pt x="25053" y="938340"/>
                    </a:cubicBezTo>
                    <a:cubicBezTo>
                      <a:pt x="28865" y="939103"/>
                      <a:pt x="25291" y="973369"/>
                      <a:pt x="29819" y="1009971"/>
                    </a:cubicBezTo>
                    <a:cubicBezTo>
                      <a:pt x="30962" y="1019407"/>
                      <a:pt x="32154" y="1028700"/>
                      <a:pt x="33345" y="1037183"/>
                    </a:cubicBezTo>
                    <a:cubicBezTo>
                      <a:pt x="36395" y="1059535"/>
                      <a:pt x="51122" y="1063919"/>
                      <a:pt x="51694" y="1039948"/>
                    </a:cubicBezTo>
                    <a:cubicBezTo>
                      <a:pt x="51884" y="1031464"/>
                      <a:pt x="51884" y="1017405"/>
                      <a:pt x="50455" y="1007445"/>
                    </a:cubicBezTo>
                    <a:cubicBezTo>
                      <a:pt x="48930" y="996626"/>
                      <a:pt x="51027" y="986189"/>
                      <a:pt x="51122" y="976848"/>
                    </a:cubicBezTo>
                    <a:cubicBezTo>
                      <a:pt x="51312" y="958404"/>
                      <a:pt x="51217" y="944917"/>
                      <a:pt x="51980" y="945346"/>
                    </a:cubicBezTo>
                    <a:cubicBezTo>
                      <a:pt x="52980" y="945870"/>
                      <a:pt x="55602" y="942201"/>
                      <a:pt x="57174" y="952161"/>
                    </a:cubicBezTo>
                    <a:cubicBezTo>
                      <a:pt x="59033" y="964124"/>
                      <a:pt x="57317" y="990479"/>
                      <a:pt x="61464" y="1007873"/>
                    </a:cubicBezTo>
                    <a:cubicBezTo>
                      <a:pt x="63799" y="1017739"/>
                      <a:pt x="67421" y="1038613"/>
                      <a:pt x="67421" y="1038613"/>
                    </a:cubicBezTo>
                    <a:cubicBezTo>
                      <a:pt x="67421" y="1038613"/>
                      <a:pt x="77000" y="1071783"/>
                      <a:pt x="79049" y="1071735"/>
                    </a:cubicBezTo>
                    <a:cubicBezTo>
                      <a:pt x="90011" y="1071259"/>
                      <a:pt x="90011" y="1045476"/>
                      <a:pt x="85054" y="1032560"/>
                    </a:cubicBezTo>
                    <a:cubicBezTo>
                      <a:pt x="86198" y="1022648"/>
                      <a:pt x="81766" y="1000820"/>
                      <a:pt x="81766" y="1000820"/>
                    </a:cubicBezTo>
                    <a:cubicBezTo>
                      <a:pt x="81766" y="1000820"/>
                      <a:pt x="82814" y="954497"/>
                      <a:pt x="89439" y="954449"/>
                    </a:cubicBezTo>
                    <a:cubicBezTo>
                      <a:pt x="94872" y="954401"/>
                      <a:pt x="113887" y="1065635"/>
                      <a:pt x="124849" y="1064396"/>
                    </a:cubicBezTo>
                    <a:cubicBezTo>
                      <a:pt x="133809" y="1063443"/>
                      <a:pt x="129615" y="1029701"/>
                      <a:pt x="129615" y="1029701"/>
                    </a:cubicBezTo>
                    <a:close/>
                  </a:path>
                </a:pathLst>
              </a:custGeom>
              <a:solidFill>
                <a:schemeClr val="bg1">
                  <a:lumMod val="95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42" name="Freeform: Shape 41">
                <a:extLst>
                  <a:ext uri="{FF2B5EF4-FFF2-40B4-BE49-F238E27FC236}">
                    <a16:creationId xmlns:a16="http://schemas.microsoft.com/office/drawing/2014/main" id="{393A2A3C-D187-A577-EEB8-2366DE1EA8F9}"/>
                  </a:ext>
                </a:extLst>
              </p:cNvPr>
              <p:cNvSpPr/>
              <p:nvPr/>
            </p:nvSpPr>
            <p:spPr>
              <a:xfrm>
                <a:off x="947410" y="3952095"/>
                <a:ext cx="261584" cy="462807"/>
              </a:xfrm>
              <a:custGeom>
                <a:avLst/>
                <a:gdLst>
                  <a:gd name="connsiteX0" fmla="*/ 165993 w 261584"/>
                  <a:gd name="connsiteY0" fmla="*/ 462808 h 462807"/>
                  <a:gd name="connsiteX1" fmla="*/ 72011 w 261584"/>
                  <a:gd name="connsiteY1" fmla="*/ 440075 h 462807"/>
                  <a:gd name="connsiteX2" fmla="*/ 0 w 261584"/>
                  <a:gd name="connsiteY2" fmla="*/ 409764 h 462807"/>
                  <a:gd name="connsiteX3" fmla="*/ 107183 w 261584"/>
                  <a:gd name="connsiteY3" fmla="*/ 81829 h 462807"/>
                  <a:gd name="connsiteX4" fmla="*/ 191300 w 261584"/>
                  <a:gd name="connsiteY4" fmla="*/ 0 h 462807"/>
                  <a:gd name="connsiteX5" fmla="*/ 261500 w 261584"/>
                  <a:gd name="connsiteY5" fmla="*/ 163658 h 462807"/>
                  <a:gd name="connsiteX6" fmla="*/ 165993 w 261584"/>
                  <a:gd name="connsiteY6" fmla="*/ 462808 h 46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1584" h="462806">
                    <a:moveTo>
                      <a:pt x="165993" y="462808"/>
                    </a:moveTo>
                    <a:cubicBezTo>
                      <a:pt x="165993" y="462808"/>
                      <a:pt x="104610" y="452180"/>
                      <a:pt x="72011" y="440075"/>
                    </a:cubicBezTo>
                    <a:cubicBezTo>
                      <a:pt x="28595" y="423919"/>
                      <a:pt x="0" y="409764"/>
                      <a:pt x="0" y="409764"/>
                    </a:cubicBezTo>
                    <a:cubicBezTo>
                      <a:pt x="0" y="409764"/>
                      <a:pt x="47658" y="205740"/>
                      <a:pt x="107183" y="81829"/>
                    </a:cubicBezTo>
                    <a:cubicBezTo>
                      <a:pt x="131775" y="30596"/>
                      <a:pt x="156605" y="5910"/>
                      <a:pt x="191300" y="0"/>
                    </a:cubicBezTo>
                    <a:cubicBezTo>
                      <a:pt x="191490" y="-48"/>
                      <a:pt x="264407" y="47992"/>
                      <a:pt x="261500" y="163658"/>
                    </a:cubicBezTo>
                    <a:cubicBezTo>
                      <a:pt x="260833" y="190823"/>
                      <a:pt x="165993" y="462808"/>
                      <a:pt x="165993" y="462808"/>
                    </a:cubicBezTo>
                    <a:close/>
                  </a:path>
                </a:pathLst>
              </a:custGeom>
              <a:solidFill>
                <a:schemeClr val="accent1">
                  <a:lumMod val="40000"/>
                  <a:lumOff val="60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grpSp>
            <p:nvGrpSpPr>
              <p:cNvPr id="43" name="Graphic 2">
                <a:extLst>
                  <a:ext uri="{FF2B5EF4-FFF2-40B4-BE49-F238E27FC236}">
                    <a16:creationId xmlns:a16="http://schemas.microsoft.com/office/drawing/2014/main" id="{36387ABF-944E-4C14-5A1C-AA4BBC684A77}"/>
                  </a:ext>
                </a:extLst>
              </p:cNvPr>
              <p:cNvGrpSpPr/>
              <p:nvPr/>
            </p:nvGrpSpPr>
            <p:grpSpPr>
              <a:xfrm>
                <a:off x="678703" y="3350293"/>
                <a:ext cx="1433447" cy="3463394"/>
                <a:chOff x="678703" y="3350293"/>
                <a:chExt cx="1433447" cy="3463394"/>
              </a:xfrm>
            </p:grpSpPr>
            <p:sp>
              <p:nvSpPr>
                <p:cNvPr id="44" name="Freeform: Shape 43">
                  <a:extLst>
                    <a:ext uri="{FF2B5EF4-FFF2-40B4-BE49-F238E27FC236}">
                      <a16:creationId xmlns:a16="http://schemas.microsoft.com/office/drawing/2014/main" id="{3AE4C359-71B3-2FF6-7AA3-51F056BC0B52}"/>
                    </a:ext>
                  </a:extLst>
                </p:cNvPr>
                <p:cNvSpPr/>
                <p:nvPr/>
              </p:nvSpPr>
              <p:spPr>
                <a:xfrm>
                  <a:off x="1302177" y="5100607"/>
                  <a:ext cx="431973" cy="1679709"/>
                </a:xfrm>
                <a:custGeom>
                  <a:avLst/>
                  <a:gdLst>
                    <a:gd name="connsiteX0" fmla="*/ 0 w 431973"/>
                    <a:gd name="connsiteY0" fmla="*/ 0 h 1679709"/>
                    <a:gd name="connsiteX1" fmla="*/ 79589 w 431973"/>
                    <a:gd name="connsiteY1" fmla="*/ 732076 h 1679709"/>
                    <a:gd name="connsiteX2" fmla="*/ 45371 w 431973"/>
                    <a:gd name="connsiteY2" fmla="*/ 930858 h 1679709"/>
                    <a:gd name="connsiteX3" fmla="*/ 131870 w 431973"/>
                    <a:gd name="connsiteY3" fmla="*/ 1551795 h 1679709"/>
                    <a:gd name="connsiteX4" fmla="*/ 128439 w 431973"/>
                    <a:gd name="connsiteY4" fmla="*/ 1584155 h 1679709"/>
                    <a:gd name="connsiteX5" fmla="*/ 128343 w 431973"/>
                    <a:gd name="connsiteY5" fmla="*/ 1679709 h 1679709"/>
                    <a:gd name="connsiteX6" fmla="*/ 431973 w 431973"/>
                    <a:gd name="connsiteY6" fmla="*/ 1679709 h 1679709"/>
                    <a:gd name="connsiteX7" fmla="*/ 277370 w 431973"/>
                    <a:gd name="connsiteY7" fmla="*/ 1591256 h 1679709"/>
                    <a:gd name="connsiteX8" fmla="*/ 251587 w 431973"/>
                    <a:gd name="connsiteY8" fmla="*/ 1545457 h 1679709"/>
                    <a:gd name="connsiteX9" fmla="*/ 275130 w 431973"/>
                    <a:gd name="connsiteY9" fmla="*/ 774444 h 1679709"/>
                    <a:gd name="connsiteX10" fmla="*/ 312637 w 431973"/>
                    <a:gd name="connsiteY10" fmla="*/ 2335 h 1679709"/>
                    <a:gd name="connsiteX11" fmla="*/ 0 w 431973"/>
                    <a:gd name="connsiteY11" fmla="*/ 0 h 1679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1972" h="1679709">
                      <a:moveTo>
                        <a:pt x="0" y="0"/>
                      </a:moveTo>
                      <a:lnTo>
                        <a:pt x="79589" y="732076"/>
                      </a:lnTo>
                      <a:cubicBezTo>
                        <a:pt x="79589" y="732076"/>
                        <a:pt x="40700" y="886869"/>
                        <a:pt x="45371" y="930858"/>
                      </a:cubicBezTo>
                      <a:cubicBezTo>
                        <a:pt x="50041" y="974847"/>
                        <a:pt x="131870" y="1551795"/>
                        <a:pt x="131870" y="1551795"/>
                      </a:cubicBezTo>
                      <a:lnTo>
                        <a:pt x="128439" y="1584155"/>
                      </a:lnTo>
                      <a:lnTo>
                        <a:pt x="128343" y="1679709"/>
                      </a:lnTo>
                      <a:lnTo>
                        <a:pt x="431973" y="1679709"/>
                      </a:lnTo>
                      <a:cubicBezTo>
                        <a:pt x="431973" y="1679709"/>
                        <a:pt x="367539" y="1649971"/>
                        <a:pt x="277370" y="1591256"/>
                      </a:cubicBezTo>
                      <a:cubicBezTo>
                        <a:pt x="270698" y="1586919"/>
                        <a:pt x="255352" y="1573051"/>
                        <a:pt x="251587" y="1545457"/>
                      </a:cubicBezTo>
                      <a:cubicBezTo>
                        <a:pt x="227520" y="1367644"/>
                        <a:pt x="275130" y="774444"/>
                        <a:pt x="275130" y="774444"/>
                      </a:cubicBezTo>
                      <a:lnTo>
                        <a:pt x="312637" y="2335"/>
                      </a:lnTo>
                      <a:lnTo>
                        <a:pt x="0" y="0"/>
                      </a:lnTo>
                      <a:close/>
                    </a:path>
                  </a:pathLst>
                </a:custGeom>
                <a:solidFill>
                  <a:schemeClr val="bg1">
                    <a:lumMod val="95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45" name="Freeform: Shape 44">
                  <a:extLst>
                    <a:ext uri="{FF2B5EF4-FFF2-40B4-BE49-F238E27FC236}">
                      <a16:creationId xmlns:a16="http://schemas.microsoft.com/office/drawing/2014/main" id="{9F0BC1F1-BBA8-92C0-74D0-0735D4A437E5}"/>
                    </a:ext>
                  </a:extLst>
                </p:cNvPr>
                <p:cNvSpPr/>
                <p:nvPr/>
              </p:nvSpPr>
              <p:spPr>
                <a:xfrm>
                  <a:off x="834794" y="5254591"/>
                  <a:ext cx="478487" cy="1557194"/>
                </a:xfrm>
                <a:custGeom>
                  <a:avLst/>
                  <a:gdLst>
                    <a:gd name="connsiteX0" fmla="*/ 223373 w 478487"/>
                    <a:gd name="connsiteY0" fmla="*/ 0 h 1557194"/>
                    <a:gd name="connsiteX1" fmla="*/ 165612 w 478487"/>
                    <a:gd name="connsiteY1" fmla="*/ 661828 h 1557194"/>
                    <a:gd name="connsiteX2" fmla="*/ 54187 w 478487"/>
                    <a:gd name="connsiteY2" fmla="*/ 1376413 h 1557194"/>
                    <a:gd name="connsiteX3" fmla="*/ 28023 w 478487"/>
                    <a:gd name="connsiteY3" fmla="*/ 1453000 h 1557194"/>
                    <a:gd name="connsiteX4" fmla="*/ 0 w 478487"/>
                    <a:gd name="connsiteY4" fmla="*/ 1546886 h 1557194"/>
                    <a:gd name="connsiteX5" fmla="*/ 137065 w 478487"/>
                    <a:gd name="connsiteY5" fmla="*/ 1544694 h 1557194"/>
                    <a:gd name="connsiteX6" fmla="*/ 131822 w 478487"/>
                    <a:gd name="connsiteY6" fmla="*/ 1452142 h 1557194"/>
                    <a:gd name="connsiteX7" fmla="*/ 127057 w 478487"/>
                    <a:gd name="connsiteY7" fmla="*/ 1367501 h 1557194"/>
                    <a:gd name="connsiteX8" fmla="*/ 354195 w 478487"/>
                    <a:gd name="connsiteY8" fmla="*/ 697572 h 1557194"/>
                    <a:gd name="connsiteX9" fmla="*/ 478487 w 478487"/>
                    <a:gd name="connsiteY9" fmla="*/ 14250 h 1557194"/>
                    <a:gd name="connsiteX10" fmla="*/ 223373 w 478487"/>
                    <a:gd name="connsiteY10" fmla="*/ 0 h 1557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8486" h="1557194">
                      <a:moveTo>
                        <a:pt x="223373" y="0"/>
                      </a:moveTo>
                      <a:cubicBezTo>
                        <a:pt x="206217" y="4480"/>
                        <a:pt x="179814" y="633900"/>
                        <a:pt x="165612" y="661828"/>
                      </a:cubicBezTo>
                      <a:cubicBezTo>
                        <a:pt x="75586" y="838687"/>
                        <a:pt x="54187" y="1376413"/>
                        <a:pt x="54187" y="1376413"/>
                      </a:cubicBezTo>
                      <a:lnTo>
                        <a:pt x="28023" y="1453000"/>
                      </a:lnTo>
                      <a:lnTo>
                        <a:pt x="0" y="1546886"/>
                      </a:lnTo>
                      <a:cubicBezTo>
                        <a:pt x="0" y="1546886"/>
                        <a:pt x="89931" y="1571478"/>
                        <a:pt x="137065" y="1544694"/>
                      </a:cubicBezTo>
                      <a:lnTo>
                        <a:pt x="131822" y="1452142"/>
                      </a:lnTo>
                      <a:lnTo>
                        <a:pt x="127057" y="1367501"/>
                      </a:lnTo>
                      <a:lnTo>
                        <a:pt x="354195" y="697572"/>
                      </a:lnTo>
                      <a:lnTo>
                        <a:pt x="478487" y="14250"/>
                      </a:lnTo>
                      <a:lnTo>
                        <a:pt x="223373" y="0"/>
                      </a:lnTo>
                      <a:close/>
                    </a:path>
                  </a:pathLst>
                </a:custGeom>
                <a:solidFill>
                  <a:schemeClr val="bg1">
                    <a:lumMod val="95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46" name="Freeform: Shape 45">
                  <a:extLst>
                    <a:ext uri="{FF2B5EF4-FFF2-40B4-BE49-F238E27FC236}">
                      <a16:creationId xmlns:a16="http://schemas.microsoft.com/office/drawing/2014/main" id="{D4DF1DC6-6B8B-3554-9063-05342B17B187}"/>
                    </a:ext>
                  </a:extLst>
                </p:cNvPr>
                <p:cNvSpPr/>
                <p:nvPr/>
              </p:nvSpPr>
              <p:spPr>
                <a:xfrm>
                  <a:off x="1064268" y="3834665"/>
                  <a:ext cx="492218" cy="844246"/>
                </a:xfrm>
                <a:custGeom>
                  <a:avLst/>
                  <a:gdLst>
                    <a:gd name="connsiteX0" fmla="*/ 445651 w 492218"/>
                    <a:gd name="connsiteY0" fmla="*/ 200593 h 844246"/>
                    <a:gd name="connsiteX1" fmla="*/ 241055 w 492218"/>
                    <a:gd name="connsiteY1" fmla="*/ 0 h 844246"/>
                    <a:gd name="connsiteX2" fmla="*/ 0 w 492218"/>
                    <a:gd name="connsiteY2" fmla="*/ 17396 h 844246"/>
                    <a:gd name="connsiteX3" fmla="*/ 191 w 492218"/>
                    <a:gd name="connsiteY3" fmla="*/ 52567 h 844246"/>
                    <a:gd name="connsiteX4" fmla="*/ 60669 w 492218"/>
                    <a:gd name="connsiteY4" fmla="*/ 518616 h 844246"/>
                    <a:gd name="connsiteX5" fmla="*/ 111139 w 492218"/>
                    <a:gd name="connsiteY5" fmla="*/ 778638 h 844246"/>
                    <a:gd name="connsiteX6" fmla="*/ 111901 w 492218"/>
                    <a:gd name="connsiteY6" fmla="*/ 779401 h 844246"/>
                    <a:gd name="connsiteX7" fmla="*/ 436548 w 492218"/>
                    <a:gd name="connsiteY7" fmla="*/ 763340 h 844246"/>
                    <a:gd name="connsiteX8" fmla="*/ 436548 w 492218"/>
                    <a:gd name="connsiteY8" fmla="*/ 763340 h 844246"/>
                    <a:gd name="connsiteX9" fmla="*/ 449273 w 492218"/>
                    <a:gd name="connsiteY9" fmla="*/ 547735 h 844246"/>
                    <a:gd name="connsiteX10" fmla="*/ 445651 w 492218"/>
                    <a:gd name="connsiteY10" fmla="*/ 200593 h 844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2218" h="844246">
                      <a:moveTo>
                        <a:pt x="445651" y="200593"/>
                      </a:moveTo>
                      <a:cubicBezTo>
                        <a:pt x="409002" y="149027"/>
                        <a:pt x="257830" y="-286"/>
                        <a:pt x="241055" y="0"/>
                      </a:cubicBezTo>
                      <a:cubicBezTo>
                        <a:pt x="192110" y="858"/>
                        <a:pt x="31407" y="954"/>
                        <a:pt x="0" y="17396"/>
                      </a:cubicBezTo>
                      <a:lnTo>
                        <a:pt x="191" y="52567"/>
                      </a:lnTo>
                      <a:cubicBezTo>
                        <a:pt x="1048" y="209791"/>
                        <a:pt x="21113" y="366396"/>
                        <a:pt x="60669" y="518616"/>
                      </a:cubicBezTo>
                      <a:cubicBezTo>
                        <a:pt x="88263" y="624703"/>
                        <a:pt x="114379" y="737986"/>
                        <a:pt x="111139" y="778638"/>
                      </a:cubicBezTo>
                      <a:lnTo>
                        <a:pt x="111901" y="779401"/>
                      </a:lnTo>
                      <a:cubicBezTo>
                        <a:pt x="204882" y="871810"/>
                        <a:pt x="351526" y="864566"/>
                        <a:pt x="436548" y="763340"/>
                      </a:cubicBezTo>
                      <a:lnTo>
                        <a:pt x="436548" y="763340"/>
                      </a:lnTo>
                      <a:cubicBezTo>
                        <a:pt x="436548" y="763340"/>
                        <a:pt x="436167" y="650581"/>
                        <a:pt x="449273" y="547735"/>
                      </a:cubicBezTo>
                      <a:cubicBezTo>
                        <a:pt x="469766" y="386555"/>
                        <a:pt x="536678" y="328651"/>
                        <a:pt x="445651" y="200593"/>
                      </a:cubicBezTo>
                      <a:close/>
                    </a:path>
                  </a:pathLst>
                </a:custGeom>
                <a:solidFill>
                  <a:schemeClr val="accent1">
                    <a:lumMod val="60000"/>
                    <a:lumOff val="40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47" name="Freeform: Shape 46">
                  <a:extLst>
                    <a:ext uri="{FF2B5EF4-FFF2-40B4-BE49-F238E27FC236}">
                      <a16:creationId xmlns:a16="http://schemas.microsoft.com/office/drawing/2014/main" id="{FB672533-415F-0860-2C39-82BF1E7B10F7}"/>
                    </a:ext>
                  </a:extLst>
                </p:cNvPr>
                <p:cNvSpPr/>
                <p:nvPr/>
              </p:nvSpPr>
              <p:spPr>
                <a:xfrm>
                  <a:off x="1244427" y="3636932"/>
                  <a:ext cx="124519" cy="249061"/>
                </a:xfrm>
                <a:custGeom>
                  <a:avLst/>
                  <a:gdLst>
                    <a:gd name="connsiteX0" fmla="*/ 11617 w 124519"/>
                    <a:gd name="connsiteY0" fmla="*/ 37697 h 249061"/>
                    <a:gd name="connsiteX1" fmla="*/ 6709 w 124519"/>
                    <a:gd name="connsiteY1" fmla="*/ 182340 h 249061"/>
                    <a:gd name="connsiteX2" fmla="*/ 63898 w 124519"/>
                    <a:gd name="connsiteY2" fmla="*/ 237194 h 249061"/>
                    <a:gd name="connsiteX3" fmla="*/ 124519 w 124519"/>
                    <a:gd name="connsiteY3" fmla="*/ 249061 h 249061"/>
                    <a:gd name="connsiteX4" fmla="*/ 115226 w 124519"/>
                    <a:gd name="connsiteY4" fmla="*/ 165993 h 249061"/>
                    <a:gd name="connsiteX5" fmla="*/ 124329 w 124519"/>
                    <a:gd name="connsiteY5" fmla="*/ 0 h 249061"/>
                    <a:gd name="connsiteX6" fmla="*/ 11617 w 124519"/>
                    <a:gd name="connsiteY6" fmla="*/ 37697 h 249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518" h="249061">
                      <a:moveTo>
                        <a:pt x="11617" y="37697"/>
                      </a:moveTo>
                      <a:cubicBezTo>
                        <a:pt x="11617" y="37697"/>
                        <a:pt x="15859" y="142593"/>
                        <a:pt x="6709" y="182340"/>
                      </a:cubicBezTo>
                      <a:cubicBezTo>
                        <a:pt x="-2442" y="222087"/>
                        <a:pt x="-14642" y="225137"/>
                        <a:pt x="63898" y="237194"/>
                      </a:cubicBezTo>
                      <a:cubicBezTo>
                        <a:pt x="94781" y="241960"/>
                        <a:pt x="124519" y="249061"/>
                        <a:pt x="124519" y="249061"/>
                      </a:cubicBezTo>
                      <a:cubicBezTo>
                        <a:pt x="124519" y="249061"/>
                        <a:pt x="116465" y="190680"/>
                        <a:pt x="115226" y="165993"/>
                      </a:cubicBezTo>
                      <a:cubicBezTo>
                        <a:pt x="113224" y="125388"/>
                        <a:pt x="124329" y="0"/>
                        <a:pt x="124329" y="0"/>
                      </a:cubicBezTo>
                      <a:lnTo>
                        <a:pt x="11617" y="37697"/>
                      </a:lnTo>
                      <a:close/>
                    </a:path>
                  </a:pathLst>
                </a:custGeom>
                <a:solidFill>
                  <a:schemeClr val="bg1">
                    <a:lumMod val="95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48" name="Freeform: Shape 47">
                  <a:extLst>
                    <a:ext uri="{FF2B5EF4-FFF2-40B4-BE49-F238E27FC236}">
                      <a16:creationId xmlns:a16="http://schemas.microsoft.com/office/drawing/2014/main" id="{755F3F45-9711-FFDC-D405-661F79A7BBF5}"/>
                    </a:ext>
                  </a:extLst>
                </p:cNvPr>
                <p:cNvSpPr/>
                <p:nvPr/>
              </p:nvSpPr>
              <p:spPr>
                <a:xfrm>
                  <a:off x="1261191" y="3636980"/>
                  <a:ext cx="107516" cy="106325"/>
                </a:xfrm>
                <a:custGeom>
                  <a:avLst/>
                  <a:gdLst>
                    <a:gd name="connsiteX0" fmla="*/ 54664 w 107516"/>
                    <a:gd name="connsiteY0" fmla="*/ 89835 h 106325"/>
                    <a:gd name="connsiteX1" fmla="*/ 99844 w 107516"/>
                    <a:gd name="connsiteY1" fmla="*/ 106325 h 106325"/>
                    <a:gd name="connsiteX2" fmla="*/ 107517 w 107516"/>
                    <a:gd name="connsiteY2" fmla="*/ 0 h 106325"/>
                    <a:gd name="connsiteX3" fmla="*/ 0 w 107516"/>
                    <a:gd name="connsiteY3" fmla="*/ 35934 h 106325"/>
                    <a:gd name="connsiteX4" fmla="*/ 54664 w 107516"/>
                    <a:gd name="connsiteY4" fmla="*/ 89835 h 106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513" h="106325">
                      <a:moveTo>
                        <a:pt x="54664" y="89835"/>
                      </a:moveTo>
                      <a:cubicBezTo>
                        <a:pt x="70820" y="98843"/>
                        <a:pt x="85927" y="104133"/>
                        <a:pt x="99844" y="106325"/>
                      </a:cubicBezTo>
                      <a:cubicBezTo>
                        <a:pt x="102513" y="56808"/>
                        <a:pt x="107517" y="0"/>
                        <a:pt x="107517" y="0"/>
                      </a:cubicBezTo>
                      <a:lnTo>
                        <a:pt x="0" y="35934"/>
                      </a:lnTo>
                      <a:cubicBezTo>
                        <a:pt x="12534" y="57380"/>
                        <a:pt x="30263" y="76253"/>
                        <a:pt x="54664" y="89835"/>
                      </a:cubicBezTo>
                      <a:close/>
                    </a:path>
                  </a:pathLst>
                </a:custGeom>
                <a:solidFill>
                  <a:schemeClr val="bg1">
                    <a:lumMod val="85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49" name="Freeform: Shape 48">
                  <a:extLst>
                    <a:ext uri="{FF2B5EF4-FFF2-40B4-BE49-F238E27FC236}">
                      <a16:creationId xmlns:a16="http://schemas.microsoft.com/office/drawing/2014/main" id="{1C43DE87-9FAF-90BF-5ADA-12E6A63C355E}"/>
                    </a:ext>
                  </a:extLst>
                </p:cNvPr>
                <p:cNvSpPr/>
                <p:nvPr/>
              </p:nvSpPr>
              <p:spPr>
                <a:xfrm>
                  <a:off x="1194784" y="3377065"/>
                  <a:ext cx="233119" cy="335329"/>
                </a:xfrm>
                <a:custGeom>
                  <a:avLst/>
                  <a:gdLst>
                    <a:gd name="connsiteX0" fmla="*/ 86185 w 233119"/>
                    <a:gd name="connsiteY0" fmla="*/ 3800 h 335329"/>
                    <a:gd name="connsiteX1" fmla="*/ 16509 w 233119"/>
                    <a:gd name="connsiteY1" fmla="*/ 69092 h 335329"/>
                    <a:gd name="connsiteX2" fmla="*/ 80132 w 233119"/>
                    <a:gd name="connsiteY2" fmla="*/ 311862 h 335329"/>
                    <a:gd name="connsiteX3" fmla="*/ 210525 w 233119"/>
                    <a:gd name="connsiteY3" fmla="*/ 320202 h 335329"/>
                    <a:gd name="connsiteX4" fmla="*/ 231352 w 233119"/>
                    <a:gd name="connsiteY4" fmla="*/ 197816 h 335329"/>
                    <a:gd name="connsiteX5" fmla="*/ 86185 w 233119"/>
                    <a:gd name="connsiteY5" fmla="*/ 3800 h 335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3119" h="335329">
                      <a:moveTo>
                        <a:pt x="86185" y="3800"/>
                      </a:moveTo>
                      <a:cubicBezTo>
                        <a:pt x="86185" y="3800"/>
                        <a:pt x="41291" y="19623"/>
                        <a:pt x="16509" y="69092"/>
                      </a:cubicBezTo>
                      <a:cubicBezTo>
                        <a:pt x="-8273" y="118513"/>
                        <a:pt x="-17519" y="257484"/>
                        <a:pt x="80132" y="311862"/>
                      </a:cubicBezTo>
                      <a:cubicBezTo>
                        <a:pt x="128458" y="338741"/>
                        <a:pt x="184265" y="343889"/>
                        <a:pt x="210525" y="320202"/>
                      </a:cubicBezTo>
                      <a:cubicBezTo>
                        <a:pt x="237309" y="296040"/>
                        <a:pt x="234068" y="242424"/>
                        <a:pt x="231352" y="197816"/>
                      </a:cubicBezTo>
                      <a:cubicBezTo>
                        <a:pt x="226061" y="109458"/>
                        <a:pt x="206665" y="-24270"/>
                        <a:pt x="86185" y="3800"/>
                      </a:cubicBezTo>
                      <a:close/>
                    </a:path>
                  </a:pathLst>
                </a:custGeom>
                <a:solidFill>
                  <a:schemeClr val="bg1">
                    <a:lumMod val="95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50" name="Freeform: Shape 49">
                  <a:extLst>
                    <a:ext uri="{FF2B5EF4-FFF2-40B4-BE49-F238E27FC236}">
                      <a16:creationId xmlns:a16="http://schemas.microsoft.com/office/drawing/2014/main" id="{57C7583A-B406-F878-A8DE-429D2C0812E2}"/>
                    </a:ext>
                  </a:extLst>
                </p:cNvPr>
                <p:cNvSpPr/>
                <p:nvPr/>
              </p:nvSpPr>
              <p:spPr>
                <a:xfrm>
                  <a:off x="1154032" y="3520580"/>
                  <a:ext cx="56807" cy="85568"/>
                </a:xfrm>
                <a:custGeom>
                  <a:avLst/>
                  <a:gdLst>
                    <a:gd name="connsiteX0" fmla="*/ 54973 w 56807"/>
                    <a:gd name="connsiteY0" fmla="*/ 34761 h 85568"/>
                    <a:gd name="connsiteX1" fmla="*/ 38436 w 56807"/>
                    <a:gd name="connsiteY1" fmla="*/ 84802 h 85568"/>
                    <a:gd name="connsiteX2" fmla="*/ 1834 w 56807"/>
                    <a:gd name="connsiteY2" fmla="*/ 50822 h 85568"/>
                    <a:gd name="connsiteX3" fmla="*/ 18372 w 56807"/>
                    <a:gd name="connsiteY3" fmla="*/ 781 h 85568"/>
                    <a:gd name="connsiteX4" fmla="*/ 54973 w 56807"/>
                    <a:gd name="connsiteY4" fmla="*/ 34761 h 85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807" h="85568">
                      <a:moveTo>
                        <a:pt x="54973" y="34761"/>
                      </a:moveTo>
                      <a:cubicBezTo>
                        <a:pt x="60501" y="57971"/>
                        <a:pt x="53114" y="80370"/>
                        <a:pt x="38436" y="84802"/>
                      </a:cubicBezTo>
                      <a:cubicBezTo>
                        <a:pt x="23757" y="89234"/>
                        <a:pt x="7363" y="73984"/>
                        <a:pt x="1834" y="50822"/>
                      </a:cubicBezTo>
                      <a:cubicBezTo>
                        <a:pt x="-3694" y="27613"/>
                        <a:pt x="3693" y="5213"/>
                        <a:pt x="18372" y="781"/>
                      </a:cubicBezTo>
                      <a:cubicBezTo>
                        <a:pt x="33050" y="-3699"/>
                        <a:pt x="49445" y="11552"/>
                        <a:pt x="54973" y="34761"/>
                      </a:cubicBezTo>
                      <a:close/>
                    </a:path>
                  </a:pathLst>
                </a:custGeom>
                <a:solidFill>
                  <a:srgbClr val="F7A491"/>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51" name="Freeform: Shape 50">
                  <a:extLst>
                    <a:ext uri="{FF2B5EF4-FFF2-40B4-BE49-F238E27FC236}">
                      <a16:creationId xmlns:a16="http://schemas.microsoft.com/office/drawing/2014/main" id="{BB100435-4F71-28CC-C51A-F1ADF049F268}"/>
                    </a:ext>
                  </a:extLst>
                </p:cNvPr>
                <p:cNvSpPr/>
                <p:nvPr/>
              </p:nvSpPr>
              <p:spPr>
                <a:xfrm>
                  <a:off x="834031" y="6706304"/>
                  <a:ext cx="137684" cy="107383"/>
                </a:xfrm>
                <a:custGeom>
                  <a:avLst/>
                  <a:gdLst>
                    <a:gd name="connsiteX0" fmla="*/ 132585 w 137684"/>
                    <a:gd name="connsiteY0" fmla="*/ 0 h 107383"/>
                    <a:gd name="connsiteX1" fmla="*/ 28786 w 137684"/>
                    <a:gd name="connsiteY1" fmla="*/ 1191 h 107383"/>
                    <a:gd name="connsiteX2" fmla="*/ 0 w 137684"/>
                    <a:gd name="connsiteY2" fmla="*/ 95459 h 107383"/>
                    <a:gd name="connsiteX3" fmla="*/ 137684 w 137684"/>
                    <a:gd name="connsiteY3" fmla="*/ 95459 h 107383"/>
                    <a:gd name="connsiteX4" fmla="*/ 132585 w 137684"/>
                    <a:gd name="connsiteY4" fmla="*/ 0 h 1073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684" h="107383">
                      <a:moveTo>
                        <a:pt x="132585" y="0"/>
                      </a:moveTo>
                      <a:cubicBezTo>
                        <a:pt x="91122" y="19016"/>
                        <a:pt x="46753" y="7291"/>
                        <a:pt x="28786" y="1191"/>
                      </a:cubicBezTo>
                      <a:lnTo>
                        <a:pt x="0" y="95459"/>
                      </a:lnTo>
                      <a:cubicBezTo>
                        <a:pt x="0" y="95459"/>
                        <a:pt x="90550" y="122290"/>
                        <a:pt x="137684" y="95459"/>
                      </a:cubicBezTo>
                      <a:lnTo>
                        <a:pt x="132585" y="0"/>
                      </a:lnTo>
                      <a:close/>
                    </a:path>
                  </a:pathLst>
                </a:custGeom>
                <a:solidFill>
                  <a:schemeClr val="accent1">
                    <a:lumMod val="75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52" name="Freeform: Shape 51">
                  <a:extLst>
                    <a:ext uri="{FF2B5EF4-FFF2-40B4-BE49-F238E27FC236}">
                      <a16:creationId xmlns:a16="http://schemas.microsoft.com/office/drawing/2014/main" id="{192D9E1C-8A79-15E1-F348-117FFACD8B1E}"/>
                    </a:ext>
                  </a:extLst>
                </p:cNvPr>
                <p:cNvSpPr/>
                <p:nvPr/>
              </p:nvSpPr>
              <p:spPr>
                <a:xfrm>
                  <a:off x="1006029" y="5628421"/>
                  <a:ext cx="95" cy="71"/>
                </a:xfrm>
                <a:custGeom>
                  <a:avLst/>
                  <a:gdLst>
                    <a:gd name="connsiteX0" fmla="*/ 0 w 95"/>
                    <a:gd name="connsiteY0" fmla="*/ 0 h 71"/>
                    <a:gd name="connsiteX1" fmla="*/ 95 w 95"/>
                    <a:gd name="connsiteY1" fmla="*/ 0 h 71"/>
                    <a:gd name="connsiteX2" fmla="*/ 0 w 95"/>
                    <a:gd name="connsiteY2" fmla="*/ 0 h 71"/>
                  </a:gdLst>
                  <a:ahLst/>
                  <a:cxnLst>
                    <a:cxn ang="0">
                      <a:pos x="connsiteX0" y="connsiteY0"/>
                    </a:cxn>
                    <a:cxn ang="0">
                      <a:pos x="connsiteX1" y="connsiteY1"/>
                    </a:cxn>
                    <a:cxn ang="0">
                      <a:pos x="connsiteX2" y="connsiteY2"/>
                    </a:cxn>
                  </a:cxnLst>
                  <a:rect l="l" t="t" r="r" b="b"/>
                  <a:pathLst>
                    <a:path w="95" h="71">
                      <a:moveTo>
                        <a:pt x="0" y="0"/>
                      </a:moveTo>
                      <a:cubicBezTo>
                        <a:pt x="48" y="95"/>
                        <a:pt x="95" y="95"/>
                        <a:pt x="95" y="0"/>
                      </a:cubicBezTo>
                      <a:lnTo>
                        <a:pt x="0" y="0"/>
                      </a:lnTo>
                      <a:close/>
                    </a:path>
                  </a:pathLst>
                </a:custGeom>
                <a:solidFill>
                  <a:srgbClr val="F47458"/>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53" name="Freeform: Shape 52">
                  <a:extLst>
                    <a:ext uri="{FF2B5EF4-FFF2-40B4-BE49-F238E27FC236}">
                      <a16:creationId xmlns:a16="http://schemas.microsoft.com/office/drawing/2014/main" id="{42576241-7EF7-025F-EFD9-5DC28620D1FA}"/>
                    </a:ext>
                  </a:extLst>
                </p:cNvPr>
                <p:cNvSpPr/>
                <p:nvPr/>
              </p:nvSpPr>
              <p:spPr>
                <a:xfrm>
                  <a:off x="1423787" y="6684572"/>
                  <a:ext cx="331447" cy="119479"/>
                </a:xfrm>
                <a:custGeom>
                  <a:avLst/>
                  <a:gdLst>
                    <a:gd name="connsiteX0" fmla="*/ 3588 w 331447"/>
                    <a:gd name="connsiteY0" fmla="*/ 119479 h 119479"/>
                    <a:gd name="connsiteX1" fmla="*/ 319227 w 331447"/>
                    <a:gd name="connsiteY1" fmla="*/ 119479 h 119479"/>
                    <a:gd name="connsiteX2" fmla="*/ 329712 w 331447"/>
                    <a:gd name="connsiteY2" fmla="*/ 102513 h 119479"/>
                    <a:gd name="connsiteX3" fmla="*/ 243165 w 331447"/>
                    <a:gd name="connsiteY3" fmla="*/ 61050 h 119479"/>
                    <a:gd name="connsiteX4" fmla="*/ 6781 w 331447"/>
                    <a:gd name="connsiteY4" fmla="*/ 0 h 119479"/>
                    <a:gd name="connsiteX5" fmla="*/ 3588 w 331447"/>
                    <a:gd name="connsiteY5" fmla="*/ 119479 h 119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1447" h="119479">
                      <a:moveTo>
                        <a:pt x="3588" y="119479"/>
                      </a:moveTo>
                      <a:lnTo>
                        <a:pt x="319227" y="119479"/>
                      </a:lnTo>
                      <a:cubicBezTo>
                        <a:pt x="330904" y="118383"/>
                        <a:pt x="333763" y="108565"/>
                        <a:pt x="329712" y="102513"/>
                      </a:cubicBezTo>
                      <a:cubicBezTo>
                        <a:pt x="321372" y="90026"/>
                        <a:pt x="284580" y="80923"/>
                        <a:pt x="243165" y="61050"/>
                      </a:cubicBezTo>
                      <a:cubicBezTo>
                        <a:pt x="170582" y="68913"/>
                        <a:pt x="18219" y="17348"/>
                        <a:pt x="6781" y="0"/>
                      </a:cubicBezTo>
                      <a:cubicBezTo>
                        <a:pt x="156" y="34695"/>
                        <a:pt x="-2894" y="118001"/>
                        <a:pt x="3588" y="119479"/>
                      </a:cubicBezTo>
                      <a:close/>
                    </a:path>
                  </a:pathLst>
                </a:custGeom>
                <a:solidFill>
                  <a:schemeClr val="accent1">
                    <a:lumMod val="75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54" name="Freeform: Shape 53">
                  <a:extLst>
                    <a:ext uri="{FF2B5EF4-FFF2-40B4-BE49-F238E27FC236}">
                      <a16:creationId xmlns:a16="http://schemas.microsoft.com/office/drawing/2014/main" id="{61C18809-02AD-C04C-661D-65B2DDC1E18A}"/>
                    </a:ext>
                  </a:extLst>
                </p:cNvPr>
                <p:cNvSpPr/>
                <p:nvPr/>
              </p:nvSpPr>
              <p:spPr>
                <a:xfrm>
                  <a:off x="1346142" y="4153345"/>
                  <a:ext cx="766009" cy="415511"/>
                </a:xfrm>
                <a:custGeom>
                  <a:avLst/>
                  <a:gdLst>
                    <a:gd name="connsiteX0" fmla="*/ 715229 w 766009"/>
                    <a:gd name="connsiteY0" fmla="*/ 120394 h 415511"/>
                    <a:gd name="connsiteX1" fmla="*/ 741822 w 766009"/>
                    <a:gd name="connsiteY1" fmla="*/ 70305 h 415511"/>
                    <a:gd name="connsiteX2" fmla="*/ 758645 w 766009"/>
                    <a:gd name="connsiteY2" fmla="*/ 9 h 415511"/>
                    <a:gd name="connsiteX3" fmla="*/ 736961 w 766009"/>
                    <a:gd name="connsiteY3" fmla="*/ 32226 h 415511"/>
                    <a:gd name="connsiteX4" fmla="*/ 717135 w 766009"/>
                    <a:gd name="connsiteY4" fmla="*/ 79837 h 415511"/>
                    <a:gd name="connsiteX5" fmla="*/ 695975 w 766009"/>
                    <a:gd name="connsiteY5" fmla="*/ 100473 h 415511"/>
                    <a:gd name="connsiteX6" fmla="*/ 713084 w 766009"/>
                    <a:gd name="connsiteY6" fmla="*/ 78264 h 415511"/>
                    <a:gd name="connsiteX7" fmla="*/ 738391 w 766009"/>
                    <a:gd name="connsiteY7" fmla="*/ 2392 h 415511"/>
                    <a:gd name="connsiteX8" fmla="*/ 698310 w 766009"/>
                    <a:gd name="connsiteY8" fmla="*/ 61631 h 415511"/>
                    <a:gd name="connsiteX9" fmla="*/ 654036 w 766009"/>
                    <a:gd name="connsiteY9" fmla="*/ 95564 h 415511"/>
                    <a:gd name="connsiteX10" fmla="*/ 656895 w 766009"/>
                    <a:gd name="connsiteY10" fmla="*/ 79932 h 415511"/>
                    <a:gd name="connsiteX11" fmla="*/ 673957 w 766009"/>
                    <a:gd name="connsiteY11" fmla="*/ 36897 h 415511"/>
                    <a:gd name="connsiteX12" fmla="*/ 604471 w 766009"/>
                    <a:gd name="connsiteY12" fmla="*/ 104714 h 415511"/>
                    <a:gd name="connsiteX13" fmla="*/ 579975 w 766009"/>
                    <a:gd name="connsiteY13" fmla="*/ 146463 h 415511"/>
                    <a:gd name="connsiteX14" fmla="*/ 577783 w 766009"/>
                    <a:gd name="connsiteY14" fmla="*/ 148083 h 415511"/>
                    <a:gd name="connsiteX15" fmla="*/ 577688 w 766009"/>
                    <a:gd name="connsiteY15" fmla="*/ 148083 h 415511"/>
                    <a:gd name="connsiteX16" fmla="*/ 270007 w 766009"/>
                    <a:gd name="connsiteY16" fmla="*/ 261653 h 415511"/>
                    <a:gd name="connsiteX17" fmla="*/ 166589 w 766009"/>
                    <a:gd name="connsiteY17" fmla="*/ 22361 h 415511"/>
                    <a:gd name="connsiteX18" fmla="*/ 24 w 766009"/>
                    <a:gd name="connsiteY18" fmla="*/ 52386 h 415511"/>
                    <a:gd name="connsiteX19" fmla="*/ 208242 w 766009"/>
                    <a:gd name="connsiteY19" fmla="*/ 414540 h 415511"/>
                    <a:gd name="connsiteX20" fmla="*/ 604900 w 766009"/>
                    <a:gd name="connsiteY20" fmla="*/ 233772 h 415511"/>
                    <a:gd name="connsiteX21" fmla="*/ 729193 w 766009"/>
                    <a:gd name="connsiteY21" fmla="*/ 147559 h 415511"/>
                    <a:gd name="connsiteX22" fmla="*/ 762982 w 766009"/>
                    <a:gd name="connsiteY22" fmla="*/ 93658 h 415511"/>
                    <a:gd name="connsiteX23" fmla="*/ 764364 w 766009"/>
                    <a:gd name="connsiteY23" fmla="*/ 32417 h 415511"/>
                    <a:gd name="connsiteX24" fmla="*/ 745635 w 766009"/>
                    <a:gd name="connsiteY24" fmla="*/ 87843 h 415511"/>
                    <a:gd name="connsiteX25" fmla="*/ 722330 w 766009"/>
                    <a:gd name="connsiteY25" fmla="*/ 118392 h 415511"/>
                    <a:gd name="connsiteX26" fmla="*/ 715229 w 766009"/>
                    <a:gd name="connsiteY26" fmla="*/ 120394 h 415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66009" h="415511">
                      <a:moveTo>
                        <a:pt x="715229" y="120394"/>
                      </a:moveTo>
                      <a:cubicBezTo>
                        <a:pt x="721329" y="111911"/>
                        <a:pt x="741822" y="70305"/>
                        <a:pt x="741822" y="70305"/>
                      </a:cubicBezTo>
                      <a:cubicBezTo>
                        <a:pt x="741822" y="70305"/>
                        <a:pt x="763030" y="-944"/>
                        <a:pt x="758645" y="9"/>
                      </a:cubicBezTo>
                      <a:cubicBezTo>
                        <a:pt x="756024" y="581"/>
                        <a:pt x="747303" y="10637"/>
                        <a:pt x="736961" y="32226"/>
                      </a:cubicBezTo>
                      <a:cubicBezTo>
                        <a:pt x="730622" y="45380"/>
                        <a:pt x="723712" y="68446"/>
                        <a:pt x="717135" y="79837"/>
                      </a:cubicBezTo>
                      <a:cubicBezTo>
                        <a:pt x="705650" y="99806"/>
                        <a:pt x="692782" y="108193"/>
                        <a:pt x="695975" y="100473"/>
                      </a:cubicBezTo>
                      <a:cubicBezTo>
                        <a:pt x="698310" y="94849"/>
                        <a:pt x="706174" y="90226"/>
                        <a:pt x="713084" y="78264"/>
                      </a:cubicBezTo>
                      <a:cubicBezTo>
                        <a:pt x="729955" y="49097"/>
                        <a:pt x="744872" y="1439"/>
                        <a:pt x="738391" y="2392"/>
                      </a:cubicBezTo>
                      <a:cubicBezTo>
                        <a:pt x="732672" y="3250"/>
                        <a:pt x="716373" y="36087"/>
                        <a:pt x="698310" y="61631"/>
                      </a:cubicBezTo>
                      <a:cubicBezTo>
                        <a:pt x="690447" y="72783"/>
                        <a:pt x="668047" y="86747"/>
                        <a:pt x="654036" y="95564"/>
                      </a:cubicBezTo>
                      <a:cubicBezTo>
                        <a:pt x="654226" y="89273"/>
                        <a:pt x="655942" y="82935"/>
                        <a:pt x="656895" y="79932"/>
                      </a:cubicBezTo>
                      <a:cubicBezTo>
                        <a:pt x="658706" y="74356"/>
                        <a:pt x="683727" y="41091"/>
                        <a:pt x="673957" y="36897"/>
                      </a:cubicBezTo>
                      <a:cubicBezTo>
                        <a:pt x="664139" y="32703"/>
                        <a:pt x="604471" y="104714"/>
                        <a:pt x="604471" y="104714"/>
                      </a:cubicBezTo>
                      <a:lnTo>
                        <a:pt x="579975" y="146463"/>
                      </a:lnTo>
                      <a:lnTo>
                        <a:pt x="577783" y="148083"/>
                      </a:lnTo>
                      <a:lnTo>
                        <a:pt x="577688" y="148083"/>
                      </a:lnTo>
                      <a:cubicBezTo>
                        <a:pt x="577688" y="148083"/>
                        <a:pt x="280015" y="264798"/>
                        <a:pt x="270007" y="261653"/>
                      </a:cubicBezTo>
                      <a:cubicBezTo>
                        <a:pt x="246607" y="254218"/>
                        <a:pt x="166589" y="22361"/>
                        <a:pt x="166589" y="22361"/>
                      </a:cubicBezTo>
                      <a:lnTo>
                        <a:pt x="24" y="52386"/>
                      </a:lnTo>
                      <a:cubicBezTo>
                        <a:pt x="-2359" y="51099"/>
                        <a:pt x="175120" y="397526"/>
                        <a:pt x="208242" y="414540"/>
                      </a:cubicBezTo>
                      <a:cubicBezTo>
                        <a:pt x="237313" y="429457"/>
                        <a:pt x="546758" y="268229"/>
                        <a:pt x="604900" y="233772"/>
                      </a:cubicBezTo>
                      <a:cubicBezTo>
                        <a:pt x="684966" y="202985"/>
                        <a:pt x="716230" y="166336"/>
                        <a:pt x="729193" y="147559"/>
                      </a:cubicBezTo>
                      <a:cubicBezTo>
                        <a:pt x="736151" y="137456"/>
                        <a:pt x="762982" y="93658"/>
                        <a:pt x="762982" y="93658"/>
                      </a:cubicBezTo>
                      <a:cubicBezTo>
                        <a:pt x="762982" y="93658"/>
                        <a:pt x="768749" y="32941"/>
                        <a:pt x="764364" y="32417"/>
                      </a:cubicBezTo>
                      <a:cubicBezTo>
                        <a:pt x="749686" y="30606"/>
                        <a:pt x="745635" y="87843"/>
                        <a:pt x="745635" y="87843"/>
                      </a:cubicBezTo>
                      <a:cubicBezTo>
                        <a:pt x="745635" y="87843"/>
                        <a:pt x="725761" y="114866"/>
                        <a:pt x="722330" y="118392"/>
                      </a:cubicBezTo>
                      <a:cubicBezTo>
                        <a:pt x="713704" y="127114"/>
                        <a:pt x="715229" y="120394"/>
                        <a:pt x="715229" y="120394"/>
                      </a:cubicBezTo>
                      <a:close/>
                    </a:path>
                  </a:pathLst>
                </a:custGeom>
                <a:solidFill>
                  <a:schemeClr val="bg1">
                    <a:lumMod val="95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55" name="Freeform: Shape 54">
                  <a:extLst>
                    <a:ext uri="{FF2B5EF4-FFF2-40B4-BE49-F238E27FC236}">
                      <a16:creationId xmlns:a16="http://schemas.microsoft.com/office/drawing/2014/main" id="{651EA58C-A2A2-0F2E-9E87-DEDA7AFB5755}"/>
                    </a:ext>
                  </a:extLst>
                </p:cNvPr>
                <p:cNvSpPr/>
                <p:nvPr/>
              </p:nvSpPr>
              <p:spPr>
                <a:xfrm>
                  <a:off x="1235809" y="3879522"/>
                  <a:ext cx="304419" cy="405321"/>
                </a:xfrm>
                <a:custGeom>
                  <a:avLst/>
                  <a:gdLst>
                    <a:gd name="connsiteX0" fmla="*/ 2839 w 304419"/>
                    <a:gd name="connsiteY0" fmla="*/ 94161 h 405321"/>
                    <a:gd name="connsiteX1" fmla="*/ 101349 w 304419"/>
                    <a:gd name="connsiteY1" fmla="*/ 405321 h 405321"/>
                    <a:gd name="connsiteX2" fmla="*/ 304420 w 304419"/>
                    <a:gd name="connsiteY2" fmla="*/ 285270 h 405321"/>
                    <a:gd name="connsiteX3" fmla="*/ 177887 w 304419"/>
                    <a:gd name="connsiteY3" fmla="*/ 75813 h 405321"/>
                    <a:gd name="connsiteX4" fmla="*/ 68274 w 304419"/>
                    <a:gd name="connsiteY4" fmla="*/ 1276 h 405321"/>
                    <a:gd name="connsiteX5" fmla="*/ 2839 w 304419"/>
                    <a:gd name="connsiteY5" fmla="*/ 94161 h 40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4419" h="405321">
                      <a:moveTo>
                        <a:pt x="2839" y="94161"/>
                      </a:moveTo>
                      <a:cubicBezTo>
                        <a:pt x="-19894" y="190526"/>
                        <a:pt x="101349" y="405321"/>
                        <a:pt x="101349" y="405321"/>
                      </a:cubicBezTo>
                      <a:cubicBezTo>
                        <a:pt x="101349" y="405321"/>
                        <a:pt x="274062" y="321443"/>
                        <a:pt x="304420" y="285270"/>
                      </a:cubicBezTo>
                      <a:cubicBezTo>
                        <a:pt x="304420" y="285270"/>
                        <a:pt x="185274" y="88681"/>
                        <a:pt x="177887" y="75813"/>
                      </a:cubicBezTo>
                      <a:cubicBezTo>
                        <a:pt x="161922" y="48076"/>
                        <a:pt x="105971" y="-9257"/>
                        <a:pt x="68274" y="1276"/>
                      </a:cubicBezTo>
                      <a:cubicBezTo>
                        <a:pt x="44254" y="7948"/>
                        <a:pt x="2839" y="94161"/>
                        <a:pt x="2839" y="94161"/>
                      </a:cubicBezTo>
                      <a:close/>
                    </a:path>
                  </a:pathLst>
                </a:custGeom>
                <a:solidFill>
                  <a:schemeClr val="accent1">
                    <a:lumMod val="40000"/>
                    <a:lumOff val="60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56" name="Freeform: Shape 55">
                  <a:extLst>
                    <a:ext uri="{FF2B5EF4-FFF2-40B4-BE49-F238E27FC236}">
                      <a16:creationId xmlns:a16="http://schemas.microsoft.com/office/drawing/2014/main" id="{0D75C5A2-A4C6-DEA5-3418-74EB638C4D94}"/>
                    </a:ext>
                  </a:extLst>
                </p:cNvPr>
                <p:cNvSpPr/>
                <p:nvPr/>
              </p:nvSpPr>
              <p:spPr>
                <a:xfrm>
                  <a:off x="678703" y="3350293"/>
                  <a:ext cx="703240" cy="1042247"/>
                </a:xfrm>
                <a:custGeom>
                  <a:avLst/>
                  <a:gdLst>
                    <a:gd name="connsiteX0" fmla="*/ 587397 w 703240"/>
                    <a:gd name="connsiteY0" fmla="*/ 385815 h 1042247"/>
                    <a:gd name="connsiteX1" fmla="*/ 690290 w 703240"/>
                    <a:gd name="connsiteY1" fmla="*/ 42057 h 1042247"/>
                    <a:gd name="connsiteX2" fmla="*/ 513717 w 703240"/>
                    <a:gd name="connsiteY2" fmla="*/ 16894 h 1042247"/>
                    <a:gd name="connsiteX3" fmla="*/ 223336 w 703240"/>
                    <a:gd name="connsiteY3" fmla="*/ 431805 h 1042247"/>
                    <a:gd name="connsiteX4" fmla="*/ 487 w 703240"/>
                    <a:gd name="connsiteY4" fmla="*/ 750638 h 1042247"/>
                    <a:gd name="connsiteX5" fmla="*/ 400339 w 703240"/>
                    <a:gd name="connsiteY5" fmla="*/ 1028914 h 1042247"/>
                    <a:gd name="connsiteX6" fmla="*/ 601456 w 703240"/>
                    <a:gd name="connsiteY6" fmla="*/ 846526 h 1042247"/>
                    <a:gd name="connsiteX7" fmla="*/ 655262 w 703240"/>
                    <a:gd name="connsiteY7" fmla="*/ 556574 h 1042247"/>
                    <a:gd name="connsiteX8" fmla="*/ 587397 w 703240"/>
                    <a:gd name="connsiteY8" fmla="*/ 385815 h 1042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03240" h="1042246">
                      <a:moveTo>
                        <a:pt x="587397" y="385815"/>
                      </a:moveTo>
                      <a:cubicBezTo>
                        <a:pt x="600312" y="297410"/>
                        <a:pt x="746908" y="117309"/>
                        <a:pt x="690290" y="42057"/>
                      </a:cubicBezTo>
                      <a:cubicBezTo>
                        <a:pt x="644491" y="-18849"/>
                        <a:pt x="564616" y="-644"/>
                        <a:pt x="513717" y="16894"/>
                      </a:cubicBezTo>
                      <a:cubicBezTo>
                        <a:pt x="282909" y="96292"/>
                        <a:pt x="296158" y="386435"/>
                        <a:pt x="223336" y="431805"/>
                      </a:cubicBezTo>
                      <a:cubicBezTo>
                        <a:pt x="91228" y="514063"/>
                        <a:pt x="10019" y="565296"/>
                        <a:pt x="487" y="750638"/>
                      </a:cubicBezTo>
                      <a:cubicBezTo>
                        <a:pt x="-10808" y="970437"/>
                        <a:pt x="175869" y="1082720"/>
                        <a:pt x="400339" y="1028914"/>
                      </a:cubicBezTo>
                      <a:cubicBezTo>
                        <a:pt x="521057" y="999985"/>
                        <a:pt x="553035" y="960524"/>
                        <a:pt x="601456" y="846526"/>
                      </a:cubicBezTo>
                      <a:cubicBezTo>
                        <a:pt x="623283" y="795151"/>
                        <a:pt x="667272" y="634877"/>
                        <a:pt x="655262" y="556574"/>
                      </a:cubicBezTo>
                      <a:cubicBezTo>
                        <a:pt x="644396" y="486374"/>
                        <a:pt x="576959" y="457017"/>
                        <a:pt x="587397" y="385815"/>
                      </a:cubicBezTo>
                      <a:close/>
                    </a:path>
                  </a:pathLst>
                </a:custGeom>
                <a:solidFill>
                  <a:schemeClr val="accent1">
                    <a:lumMod val="75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57" name="Freeform: Shape 56">
                  <a:extLst>
                    <a:ext uri="{FF2B5EF4-FFF2-40B4-BE49-F238E27FC236}">
                      <a16:creationId xmlns:a16="http://schemas.microsoft.com/office/drawing/2014/main" id="{C7C01D0F-530B-5B38-0A21-727781B2121D}"/>
                    </a:ext>
                  </a:extLst>
                </p:cNvPr>
                <p:cNvSpPr/>
                <p:nvPr/>
              </p:nvSpPr>
              <p:spPr>
                <a:xfrm>
                  <a:off x="1311375" y="3526699"/>
                  <a:ext cx="42415" cy="94744"/>
                </a:xfrm>
                <a:custGeom>
                  <a:avLst/>
                  <a:gdLst>
                    <a:gd name="connsiteX0" fmla="*/ 42416 w 42415"/>
                    <a:gd name="connsiteY0" fmla="*/ 47372 h 94744"/>
                    <a:gd name="connsiteX1" fmla="*/ 21208 w 42415"/>
                    <a:gd name="connsiteY1" fmla="*/ 94744 h 94744"/>
                    <a:gd name="connsiteX2" fmla="*/ 0 w 42415"/>
                    <a:gd name="connsiteY2" fmla="*/ 47372 h 94744"/>
                    <a:gd name="connsiteX3" fmla="*/ 21208 w 42415"/>
                    <a:gd name="connsiteY3" fmla="*/ 0 h 94744"/>
                    <a:gd name="connsiteX4" fmla="*/ 42416 w 42415"/>
                    <a:gd name="connsiteY4" fmla="*/ 47372 h 947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15" h="94744">
                      <a:moveTo>
                        <a:pt x="42416" y="47372"/>
                      </a:moveTo>
                      <a:cubicBezTo>
                        <a:pt x="42416" y="73536"/>
                        <a:pt x="32932" y="94744"/>
                        <a:pt x="21208" y="94744"/>
                      </a:cubicBezTo>
                      <a:cubicBezTo>
                        <a:pt x="9484" y="94744"/>
                        <a:pt x="0" y="73536"/>
                        <a:pt x="0" y="47372"/>
                      </a:cubicBezTo>
                      <a:cubicBezTo>
                        <a:pt x="0" y="21208"/>
                        <a:pt x="9484" y="0"/>
                        <a:pt x="21208" y="0"/>
                      </a:cubicBezTo>
                      <a:cubicBezTo>
                        <a:pt x="32932" y="0"/>
                        <a:pt x="42416" y="21208"/>
                        <a:pt x="42416" y="47372"/>
                      </a:cubicBezTo>
                      <a:close/>
                    </a:path>
                  </a:pathLst>
                </a:custGeom>
                <a:solidFill>
                  <a:schemeClr val="bg1">
                    <a:lumMod val="95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58" name="Freeform: Shape 57">
                  <a:extLst>
                    <a:ext uri="{FF2B5EF4-FFF2-40B4-BE49-F238E27FC236}">
                      <a16:creationId xmlns:a16="http://schemas.microsoft.com/office/drawing/2014/main" id="{FB9CB7EB-3000-1AA1-2AA2-616553ABE052}"/>
                    </a:ext>
                  </a:extLst>
                </p:cNvPr>
                <p:cNvSpPr/>
                <p:nvPr/>
              </p:nvSpPr>
              <p:spPr>
                <a:xfrm>
                  <a:off x="1005798" y="4598005"/>
                  <a:ext cx="648338" cy="1016286"/>
                </a:xfrm>
                <a:custGeom>
                  <a:avLst/>
                  <a:gdLst>
                    <a:gd name="connsiteX0" fmla="*/ 637421 w 648338"/>
                    <a:gd name="connsiteY0" fmla="*/ 978802 h 1016286"/>
                    <a:gd name="connsiteX1" fmla="*/ 648239 w 648338"/>
                    <a:gd name="connsiteY1" fmla="*/ 544494 h 1016286"/>
                    <a:gd name="connsiteX2" fmla="*/ 577085 w 648338"/>
                    <a:gd name="connsiteY2" fmla="*/ 188345 h 1016286"/>
                    <a:gd name="connsiteX3" fmla="*/ 495018 w 648338"/>
                    <a:gd name="connsiteY3" fmla="*/ 0 h 1016286"/>
                    <a:gd name="connsiteX4" fmla="*/ 395651 w 648338"/>
                    <a:gd name="connsiteY4" fmla="*/ 24163 h 1016286"/>
                    <a:gd name="connsiteX5" fmla="*/ 169609 w 648338"/>
                    <a:gd name="connsiteY5" fmla="*/ 15298 h 1016286"/>
                    <a:gd name="connsiteX6" fmla="*/ 168560 w 648338"/>
                    <a:gd name="connsiteY6" fmla="*/ 22971 h 1016286"/>
                    <a:gd name="connsiteX7" fmla="*/ 46413 w 648338"/>
                    <a:gd name="connsiteY7" fmla="*/ 424395 h 1016286"/>
                    <a:gd name="connsiteX8" fmla="*/ 851 w 648338"/>
                    <a:gd name="connsiteY8" fmla="*/ 1002488 h 1016286"/>
                    <a:gd name="connsiteX9" fmla="*/ 637421 w 648338"/>
                    <a:gd name="connsiteY9" fmla="*/ 978802 h 1016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8338" h="1016286">
                      <a:moveTo>
                        <a:pt x="637421" y="978802"/>
                      </a:moveTo>
                      <a:lnTo>
                        <a:pt x="648239" y="544494"/>
                      </a:lnTo>
                      <a:cubicBezTo>
                        <a:pt x="650098" y="421727"/>
                        <a:pt x="625792" y="300103"/>
                        <a:pt x="577085" y="188345"/>
                      </a:cubicBezTo>
                      <a:lnTo>
                        <a:pt x="495018" y="0"/>
                      </a:lnTo>
                      <a:cubicBezTo>
                        <a:pt x="461800" y="10866"/>
                        <a:pt x="430537" y="20112"/>
                        <a:pt x="395651" y="24163"/>
                      </a:cubicBezTo>
                      <a:cubicBezTo>
                        <a:pt x="319732" y="32932"/>
                        <a:pt x="245099" y="24210"/>
                        <a:pt x="169609" y="15298"/>
                      </a:cubicBezTo>
                      <a:cubicBezTo>
                        <a:pt x="169370" y="18253"/>
                        <a:pt x="169037" y="20827"/>
                        <a:pt x="168560" y="22971"/>
                      </a:cubicBezTo>
                      <a:cubicBezTo>
                        <a:pt x="154882" y="86929"/>
                        <a:pt x="78582" y="229522"/>
                        <a:pt x="46413" y="424395"/>
                      </a:cubicBezTo>
                      <a:cubicBezTo>
                        <a:pt x="9954" y="645624"/>
                        <a:pt x="-3724" y="976514"/>
                        <a:pt x="851" y="1002488"/>
                      </a:cubicBezTo>
                      <a:cubicBezTo>
                        <a:pt x="349661" y="1018310"/>
                        <a:pt x="432777" y="1030892"/>
                        <a:pt x="637421" y="978802"/>
                      </a:cubicBezTo>
                      <a:close/>
                    </a:path>
                  </a:pathLst>
                </a:custGeom>
                <a:solidFill>
                  <a:schemeClr val="accent1">
                    <a:lumMod val="75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grpSp>
        </p:grpSp>
        <p:grpSp>
          <p:nvGrpSpPr>
            <p:cNvPr id="59" name="Graphic 2">
              <a:extLst>
                <a:ext uri="{FF2B5EF4-FFF2-40B4-BE49-F238E27FC236}">
                  <a16:creationId xmlns:a16="http://schemas.microsoft.com/office/drawing/2014/main" id="{12FC1C64-B87C-E31F-1FBE-46B32E9398C7}"/>
                </a:ext>
              </a:extLst>
            </p:cNvPr>
            <p:cNvGrpSpPr/>
            <p:nvPr/>
          </p:nvGrpSpPr>
          <p:grpSpPr>
            <a:xfrm>
              <a:off x="3405716" y="2072658"/>
              <a:ext cx="3486498" cy="3946071"/>
              <a:chOff x="3175522" y="1279517"/>
              <a:chExt cx="4881933" cy="5525445"/>
            </a:xfrm>
          </p:grpSpPr>
          <p:grpSp>
            <p:nvGrpSpPr>
              <p:cNvPr id="60" name="Graphic 2">
                <a:extLst>
                  <a:ext uri="{FF2B5EF4-FFF2-40B4-BE49-F238E27FC236}">
                    <a16:creationId xmlns:a16="http://schemas.microsoft.com/office/drawing/2014/main" id="{186EC3B0-C2FD-9246-C3A2-A1895FD3AB33}"/>
                  </a:ext>
                </a:extLst>
              </p:cNvPr>
              <p:cNvGrpSpPr/>
              <p:nvPr/>
            </p:nvGrpSpPr>
            <p:grpSpPr>
              <a:xfrm>
                <a:off x="5884693" y="3402597"/>
                <a:ext cx="2172762" cy="3400166"/>
                <a:chOff x="5884693" y="3402597"/>
                <a:chExt cx="2172762" cy="3400166"/>
              </a:xfrm>
            </p:grpSpPr>
            <p:sp>
              <p:nvSpPr>
                <p:cNvPr id="61" name="Freeform: Shape 60">
                  <a:extLst>
                    <a:ext uri="{FF2B5EF4-FFF2-40B4-BE49-F238E27FC236}">
                      <a16:creationId xmlns:a16="http://schemas.microsoft.com/office/drawing/2014/main" id="{072666E5-E537-A618-0F82-21B8AA3A017C}"/>
                    </a:ext>
                  </a:extLst>
                </p:cNvPr>
                <p:cNvSpPr/>
                <p:nvPr/>
              </p:nvSpPr>
              <p:spPr>
                <a:xfrm>
                  <a:off x="5884693" y="3402597"/>
                  <a:ext cx="937668" cy="685355"/>
                </a:xfrm>
                <a:custGeom>
                  <a:avLst/>
                  <a:gdLst>
                    <a:gd name="connsiteX0" fmla="*/ 103466 w 937668"/>
                    <a:gd name="connsiteY0" fmla="*/ 0 h 685355"/>
                    <a:gd name="connsiteX1" fmla="*/ 366158 w 937668"/>
                    <a:gd name="connsiteY1" fmla="*/ 262739 h 685355"/>
                    <a:gd name="connsiteX2" fmla="*/ 922327 w 937668"/>
                    <a:gd name="connsiteY2" fmla="*/ 578569 h 685355"/>
                    <a:gd name="connsiteX3" fmla="*/ 754619 w 937668"/>
                    <a:gd name="connsiteY3" fmla="*/ 676364 h 685355"/>
                    <a:gd name="connsiteX4" fmla="*/ 304631 w 937668"/>
                    <a:gd name="connsiteY4" fmla="*/ 452752 h 685355"/>
                    <a:gd name="connsiteX5" fmla="*/ 0 w 937668"/>
                    <a:gd name="connsiteY5" fmla="*/ 100606 h 685355"/>
                    <a:gd name="connsiteX6" fmla="*/ 103466 w 937668"/>
                    <a:gd name="connsiteY6" fmla="*/ 0 h 685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7668" h="685355">
                      <a:moveTo>
                        <a:pt x="103466" y="0"/>
                      </a:moveTo>
                      <a:lnTo>
                        <a:pt x="366158" y="262739"/>
                      </a:lnTo>
                      <a:cubicBezTo>
                        <a:pt x="366158" y="262739"/>
                        <a:pt x="866424" y="458376"/>
                        <a:pt x="922327" y="578569"/>
                      </a:cubicBezTo>
                      <a:cubicBezTo>
                        <a:pt x="978230" y="698763"/>
                        <a:pt x="872001" y="693139"/>
                        <a:pt x="754619" y="676364"/>
                      </a:cubicBezTo>
                      <a:cubicBezTo>
                        <a:pt x="637237" y="659588"/>
                        <a:pt x="304631" y="452752"/>
                        <a:pt x="304631" y="452752"/>
                      </a:cubicBezTo>
                      <a:lnTo>
                        <a:pt x="0" y="100606"/>
                      </a:lnTo>
                      <a:lnTo>
                        <a:pt x="103466" y="0"/>
                      </a:lnTo>
                      <a:close/>
                    </a:path>
                  </a:pathLst>
                </a:custGeom>
                <a:solidFill>
                  <a:schemeClr val="accent1">
                    <a:lumMod val="60000"/>
                    <a:lumOff val="40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62" name="Freeform: Shape 61">
                  <a:extLst>
                    <a:ext uri="{FF2B5EF4-FFF2-40B4-BE49-F238E27FC236}">
                      <a16:creationId xmlns:a16="http://schemas.microsoft.com/office/drawing/2014/main" id="{FDDA30DA-7CD0-0623-BE15-6B4D1EC6F4D7}"/>
                    </a:ext>
                  </a:extLst>
                </p:cNvPr>
                <p:cNvSpPr/>
                <p:nvPr/>
              </p:nvSpPr>
              <p:spPr>
                <a:xfrm>
                  <a:off x="6457433" y="3905390"/>
                  <a:ext cx="299689" cy="1084149"/>
                </a:xfrm>
                <a:custGeom>
                  <a:avLst/>
                  <a:gdLst>
                    <a:gd name="connsiteX0" fmla="*/ 299690 w 299689"/>
                    <a:gd name="connsiteY0" fmla="*/ 23066 h 1084149"/>
                    <a:gd name="connsiteX1" fmla="*/ 234732 w 299689"/>
                    <a:gd name="connsiteY1" fmla="*/ 0 h 1084149"/>
                    <a:gd name="connsiteX2" fmla="*/ 108962 w 299689"/>
                    <a:gd name="connsiteY2" fmla="*/ 58715 h 1084149"/>
                    <a:gd name="connsiteX3" fmla="*/ 12550 w 299689"/>
                    <a:gd name="connsiteY3" fmla="*/ 211745 h 1084149"/>
                    <a:gd name="connsiteX4" fmla="*/ 64973 w 299689"/>
                    <a:gd name="connsiteY4" fmla="*/ 1077454 h 1084149"/>
                    <a:gd name="connsiteX5" fmla="*/ 299690 w 299689"/>
                    <a:gd name="connsiteY5" fmla="*/ 23066 h 1084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9689" h="1084149">
                      <a:moveTo>
                        <a:pt x="299690" y="23066"/>
                      </a:moveTo>
                      <a:lnTo>
                        <a:pt x="234732" y="0"/>
                      </a:lnTo>
                      <a:lnTo>
                        <a:pt x="108962" y="58715"/>
                      </a:lnTo>
                      <a:cubicBezTo>
                        <a:pt x="108962" y="58715"/>
                        <a:pt x="44004" y="102751"/>
                        <a:pt x="12550" y="211745"/>
                      </a:cubicBezTo>
                      <a:cubicBezTo>
                        <a:pt x="-18905" y="320739"/>
                        <a:pt x="12550" y="972654"/>
                        <a:pt x="64973" y="1077454"/>
                      </a:cubicBezTo>
                      <a:cubicBezTo>
                        <a:pt x="117302" y="1182207"/>
                        <a:pt x="299690" y="23066"/>
                        <a:pt x="299690" y="23066"/>
                      </a:cubicBezTo>
                      <a:close/>
                    </a:path>
                  </a:pathLst>
                </a:custGeom>
                <a:solidFill>
                  <a:schemeClr val="bg1"/>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63" name="Freeform: Shape 62">
                  <a:extLst>
                    <a:ext uri="{FF2B5EF4-FFF2-40B4-BE49-F238E27FC236}">
                      <a16:creationId xmlns:a16="http://schemas.microsoft.com/office/drawing/2014/main" id="{F1390A04-05D7-AFDA-B496-E9BEAF6A29B8}"/>
                    </a:ext>
                  </a:extLst>
                </p:cNvPr>
                <p:cNvSpPr/>
                <p:nvPr/>
              </p:nvSpPr>
              <p:spPr>
                <a:xfrm>
                  <a:off x="7169652" y="6417925"/>
                  <a:ext cx="218677" cy="378899"/>
                </a:xfrm>
                <a:custGeom>
                  <a:avLst/>
                  <a:gdLst>
                    <a:gd name="connsiteX0" fmla="*/ 0 w 218677"/>
                    <a:gd name="connsiteY0" fmla="*/ 124816 h 378899"/>
                    <a:gd name="connsiteX1" fmla="*/ 49993 w 218677"/>
                    <a:gd name="connsiteY1" fmla="*/ 168280 h 378899"/>
                    <a:gd name="connsiteX2" fmla="*/ 74966 w 218677"/>
                    <a:gd name="connsiteY2" fmla="*/ 347285 h 378899"/>
                    <a:gd name="connsiteX3" fmla="*/ 33885 w 218677"/>
                    <a:gd name="connsiteY3" fmla="*/ 368635 h 378899"/>
                    <a:gd name="connsiteX4" fmla="*/ 191442 w 218677"/>
                    <a:gd name="connsiteY4" fmla="*/ 370160 h 378899"/>
                    <a:gd name="connsiteX5" fmla="*/ 202737 w 218677"/>
                    <a:gd name="connsiteY5" fmla="*/ 206169 h 378899"/>
                    <a:gd name="connsiteX6" fmla="*/ 214556 w 218677"/>
                    <a:gd name="connsiteY6" fmla="*/ 87881 h 378899"/>
                    <a:gd name="connsiteX7" fmla="*/ 139829 w 218677"/>
                    <a:gd name="connsiteY7" fmla="*/ 50899 h 378899"/>
                    <a:gd name="connsiteX8" fmla="*/ 67865 w 218677"/>
                    <a:gd name="connsiteY8" fmla="*/ 0 h 378899"/>
                    <a:gd name="connsiteX9" fmla="*/ 0 w 218677"/>
                    <a:gd name="connsiteY9" fmla="*/ 124816 h 378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8677" h="378899">
                      <a:moveTo>
                        <a:pt x="0" y="124816"/>
                      </a:moveTo>
                      <a:cubicBezTo>
                        <a:pt x="0" y="124816"/>
                        <a:pt x="46180" y="154555"/>
                        <a:pt x="49993" y="168280"/>
                      </a:cubicBezTo>
                      <a:cubicBezTo>
                        <a:pt x="53806" y="181958"/>
                        <a:pt x="87643" y="330080"/>
                        <a:pt x="74966" y="347285"/>
                      </a:cubicBezTo>
                      <a:cubicBezTo>
                        <a:pt x="62289" y="364441"/>
                        <a:pt x="15870" y="356149"/>
                        <a:pt x="33885" y="368635"/>
                      </a:cubicBezTo>
                      <a:cubicBezTo>
                        <a:pt x="47515" y="378071"/>
                        <a:pt x="135349" y="385316"/>
                        <a:pt x="191442" y="370160"/>
                      </a:cubicBezTo>
                      <a:cubicBezTo>
                        <a:pt x="207837" y="365728"/>
                        <a:pt x="200354" y="227281"/>
                        <a:pt x="202737" y="206169"/>
                      </a:cubicBezTo>
                      <a:cubicBezTo>
                        <a:pt x="206216" y="175525"/>
                        <a:pt x="227472" y="105992"/>
                        <a:pt x="214556" y="87881"/>
                      </a:cubicBezTo>
                      <a:cubicBezTo>
                        <a:pt x="208266" y="79065"/>
                        <a:pt x="172236" y="63528"/>
                        <a:pt x="139829" y="50899"/>
                      </a:cubicBezTo>
                      <a:cubicBezTo>
                        <a:pt x="105753" y="37602"/>
                        <a:pt x="67865" y="0"/>
                        <a:pt x="67865" y="0"/>
                      </a:cubicBezTo>
                      <a:lnTo>
                        <a:pt x="0" y="124816"/>
                      </a:lnTo>
                      <a:close/>
                    </a:path>
                  </a:pathLst>
                </a:custGeom>
                <a:solidFill>
                  <a:schemeClr val="bg1"/>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64" name="Freeform: Shape 63">
                  <a:extLst>
                    <a:ext uri="{FF2B5EF4-FFF2-40B4-BE49-F238E27FC236}">
                      <a16:creationId xmlns:a16="http://schemas.microsoft.com/office/drawing/2014/main" id="{7EC96E9F-F9EA-4135-0C6D-2CC4C6EF7BB0}"/>
                    </a:ext>
                  </a:extLst>
                </p:cNvPr>
                <p:cNvSpPr/>
                <p:nvPr/>
              </p:nvSpPr>
              <p:spPr>
                <a:xfrm>
                  <a:off x="7189905" y="6467584"/>
                  <a:ext cx="201052" cy="335179"/>
                </a:xfrm>
                <a:custGeom>
                  <a:avLst/>
                  <a:gdLst>
                    <a:gd name="connsiteX0" fmla="*/ 116764 w 201052"/>
                    <a:gd name="connsiteY0" fmla="*/ 0 h 335179"/>
                    <a:gd name="connsiteX1" fmla="*/ 57572 w 201052"/>
                    <a:gd name="connsiteY1" fmla="*/ 282184 h 335179"/>
                    <a:gd name="connsiteX2" fmla="*/ 49 w 201052"/>
                    <a:gd name="connsiteY2" fmla="*/ 312638 h 335179"/>
                    <a:gd name="connsiteX3" fmla="*/ 12630 w 201052"/>
                    <a:gd name="connsiteY3" fmla="*/ 335180 h 335179"/>
                    <a:gd name="connsiteX4" fmla="*/ 182960 w 201052"/>
                    <a:gd name="connsiteY4" fmla="*/ 334656 h 335179"/>
                    <a:gd name="connsiteX5" fmla="*/ 183675 w 201052"/>
                    <a:gd name="connsiteY5" fmla="*/ 154841 h 335179"/>
                    <a:gd name="connsiteX6" fmla="*/ 199498 w 201052"/>
                    <a:gd name="connsiteY6" fmla="*/ 15966 h 335179"/>
                    <a:gd name="connsiteX7" fmla="*/ 116764 w 201052"/>
                    <a:gd name="connsiteY7" fmla="*/ 0 h 335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1052" h="335179">
                      <a:moveTo>
                        <a:pt x="116764" y="0"/>
                      </a:moveTo>
                      <a:cubicBezTo>
                        <a:pt x="116764" y="0"/>
                        <a:pt x="89503" y="262787"/>
                        <a:pt x="57572" y="282184"/>
                      </a:cubicBezTo>
                      <a:cubicBezTo>
                        <a:pt x="49089" y="287331"/>
                        <a:pt x="4195" y="291191"/>
                        <a:pt x="49" y="312638"/>
                      </a:cubicBezTo>
                      <a:cubicBezTo>
                        <a:pt x="-46" y="313162"/>
                        <a:pt x="-1000" y="334656"/>
                        <a:pt x="12630" y="335180"/>
                      </a:cubicBezTo>
                      <a:lnTo>
                        <a:pt x="182960" y="334656"/>
                      </a:lnTo>
                      <a:cubicBezTo>
                        <a:pt x="182960" y="334656"/>
                        <a:pt x="184724" y="205454"/>
                        <a:pt x="183675" y="154841"/>
                      </a:cubicBezTo>
                      <a:cubicBezTo>
                        <a:pt x="183675" y="154841"/>
                        <a:pt x="207219" y="25640"/>
                        <a:pt x="199498" y="15966"/>
                      </a:cubicBezTo>
                      <a:cubicBezTo>
                        <a:pt x="191778" y="6339"/>
                        <a:pt x="116764" y="0"/>
                        <a:pt x="116764" y="0"/>
                      </a:cubicBezTo>
                      <a:close/>
                    </a:path>
                  </a:pathLst>
                </a:custGeom>
                <a:solidFill>
                  <a:schemeClr val="accent1">
                    <a:lumMod val="75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65" name="Freeform: Shape 64">
                  <a:extLst>
                    <a:ext uri="{FF2B5EF4-FFF2-40B4-BE49-F238E27FC236}">
                      <a16:creationId xmlns:a16="http://schemas.microsoft.com/office/drawing/2014/main" id="{8BAABBB4-F171-9EBA-972D-4B79C4969E5E}"/>
                    </a:ext>
                  </a:extLst>
                </p:cNvPr>
                <p:cNvSpPr/>
                <p:nvPr/>
              </p:nvSpPr>
              <p:spPr>
                <a:xfrm>
                  <a:off x="7836245" y="6417925"/>
                  <a:ext cx="218677" cy="378899"/>
                </a:xfrm>
                <a:custGeom>
                  <a:avLst/>
                  <a:gdLst>
                    <a:gd name="connsiteX0" fmla="*/ 0 w 218677"/>
                    <a:gd name="connsiteY0" fmla="*/ 124816 h 378899"/>
                    <a:gd name="connsiteX1" fmla="*/ 49993 w 218677"/>
                    <a:gd name="connsiteY1" fmla="*/ 168280 h 378899"/>
                    <a:gd name="connsiteX2" fmla="*/ 74966 w 218677"/>
                    <a:gd name="connsiteY2" fmla="*/ 347285 h 378899"/>
                    <a:gd name="connsiteX3" fmla="*/ 33885 w 218677"/>
                    <a:gd name="connsiteY3" fmla="*/ 368635 h 378899"/>
                    <a:gd name="connsiteX4" fmla="*/ 191442 w 218677"/>
                    <a:gd name="connsiteY4" fmla="*/ 370160 h 378899"/>
                    <a:gd name="connsiteX5" fmla="*/ 202737 w 218677"/>
                    <a:gd name="connsiteY5" fmla="*/ 206169 h 378899"/>
                    <a:gd name="connsiteX6" fmla="*/ 214556 w 218677"/>
                    <a:gd name="connsiteY6" fmla="*/ 87881 h 378899"/>
                    <a:gd name="connsiteX7" fmla="*/ 139829 w 218677"/>
                    <a:gd name="connsiteY7" fmla="*/ 50899 h 378899"/>
                    <a:gd name="connsiteX8" fmla="*/ 67865 w 218677"/>
                    <a:gd name="connsiteY8" fmla="*/ 0 h 378899"/>
                    <a:gd name="connsiteX9" fmla="*/ 0 w 218677"/>
                    <a:gd name="connsiteY9" fmla="*/ 124816 h 378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8677" h="378899">
                      <a:moveTo>
                        <a:pt x="0" y="124816"/>
                      </a:moveTo>
                      <a:cubicBezTo>
                        <a:pt x="0" y="124816"/>
                        <a:pt x="46228" y="154555"/>
                        <a:pt x="49993" y="168280"/>
                      </a:cubicBezTo>
                      <a:cubicBezTo>
                        <a:pt x="53806" y="181958"/>
                        <a:pt x="87643" y="330080"/>
                        <a:pt x="74966" y="347285"/>
                      </a:cubicBezTo>
                      <a:cubicBezTo>
                        <a:pt x="62289" y="364441"/>
                        <a:pt x="15870" y="356149"/>
                        <a:pt x="33885" y="368635"/>
                      </a:cubicBezTo>
                      <a:cubicBezTo>
                        <a:pt x="47515" y="378071"/>
                        <a:pt x="135349" y="385316"/>
                        <a:pt x="191442" y="370160"/>
                      </a:cubicBezTo>
                      <a:cubicBezTo>
                        <a:pt x="207837" y="365728"/>
                        <a:pt x="200354" y="227281"/>
                        <a:pt x="202737" y="206169"/>
                      </a:cubicBezTo>
                      <a:cubicBezTo>
                        <a:pt x="206216" y="175525"/>
                        <a:pt x="227472" y="105992"/>
                        <a:pt x="214556" y="87881"/>
                      </a:cubicBezTo>
                      <a:cubicBezTo>
                        <a:pt x="208266" y="79065"/>
                        <a:pt x="172236" y="63528"/>
                        <a:pt x="139829" y="50899"/>
                      </a:cubicBezTo>
                      <a:cubicBezTo>
                        <a:pt x="105753" y="37602"/>
                        <a:pt x="67865" y="0"/>
                        <a:pt x="67865" y="0"/>
                      </a:cubicBezTo>
                      <a:lnTo>
                        <a:pt x="0" y="124816"/>
                      </a:lnTo>
                      <a:close/>
                    </a:path>
                  </a:pathLst>
                </a:custGeom>
                <a:solidFill>
                  <a:schemeClr val="bg1"/>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66" name="Freeform: Shape 65">
                  <a:extLst>
                    <a:ext uri="{FF2B5EF4-FFF2-40B4-BE49-F238E27FC236}">
                      <a16:creationId xmlns:a16="http://schemas.microsoft.com/office/drawing/2014/main" id="{C0A91706-9449-0413-8D2C-410012031941}"/>
                    </a:ext>
                  </a:extLst>
                </p:cNvPr>
                <p:cNvSpPr/>
                <p:nvPr/>
              </p:nvSpPr>
              <p:spPr>
                <a:xfrm>
                  <a:off x="6662426" y="4834866"/>
                  <a:ext cx="1285624" cy="1735565"/>
                </a:xfrm>
                <a:custGeom>
                  <a:avLst/>
                  <a:gdLst>
                    <a:gd name="connsiteX0" fmla="*/ 337229 w 1285624"/>
                    <a:gd name="connsiteY0" fmla="*/ 0 h 1735565"/>
                    <a:gd name="connsiteX1" fmla="*/ 524906 w 1285624"/>
                    <a:gd name="connsiteY1" fmla="*/ 392274 h 1735565"/>
                    <a:gd name="connsiteX2" fmla="*/ 762243 w 1285624"/>
                    <a:gd name="connsiteY2" fmla="*/ 994434 h 1735565"/>
                    <a:gd name="connsiteX3" fmla="*/ 1285625 w 1285624"/>
                    <a:gd name="connsiteY3" fmla="*/ 1610129 h 1735565"/>
                    <a:gd name="connsiteX4" fmla="*/ 1189355 w 1285624"/>
                    <a:gd name="connsiteY4" fmla="*/ 1735565 h 1735565"/>
                    <a:gd name="connsiteX5" fmla="*/ 506367 w 1285624"/>
                    <a:gd name="connsiteY5" fmla="*/ 1145749 h 1735565"/>
                    <a:gd name="connsiteX6" fmla="*/ 66960 w 1285624"/>
                    <a:gd name="connsiteY6" fmla="*/ 273891 h 1735565"/>
                    <a:gd name="connsiteX7" fmla="*/ 0 w 1285624"/>
                    <a:gd name="connsiteY7" fmla="*/ 129725 h 1735565"/>
                    <a:gd name="connsiteX8" fmla="*/ 337229 w 1285624"/>
                    <a:gd name="connsiteY8" fmla="*/ 0 h 1735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5624" h="1735565">
                      <a:moveTo>
                        <a:pt x="337229" y="0"/>
                      </a:moveTo>
                      <a:cubicBezTo>
                        <a:pt x="337229" y="0"/>
                        <a:pt x="492975" y="309253"/>
                        <a:pt x="524906" y="392274"/>
                      </a:cubicBezTo>
                      <a:lnTo>
                        <a:pt x="762243" y="994434"/>
                      </a:lnTo>
                      <a:lnTo>
                        <a:pt x="1285625" y="1610129"/>
                      </a:lnTo>
                      <a:cubicBezTo>
                        <a:pt x="1285625" y="1610129"/>
                        <a:pt x="1247308" y="1709067"/>
                        <a:pt x="1189355" y="1735565"/>
                      </a:cubicBezTo>
                      <a:cubicBezTo>
                        <a:pt x="1189355" y="1735565"/>
                        <a:pt x="558315" y="1226005"/>
                        <a:pt x="506367" y="1145749"/>
                      </a:cubicBezTo>
                      <a:cubicBezTo>
                        <a:pt x="427255" y="1023410"/>
                        <a:pt x="66960" y="273891"/>
                        <a:pt x="66960" y="273891"/>
                      </a:cubicBezTo>
                      <a:lnTo>
                        <a:pt x="0" y="129725"/>
                      </a:lnTo>
                      <a:lnTo>
                        <a:pt x="337229" y="0"/>
                      </a:lnTo>
                      <a:close/>
                    </a:path>
                  </a:pathLst>
                </a:custGeom>
                <a:solidFill>
                  <a:schemeClr val="accent1">
                    <a:lumMod val="75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67" name="Freeform: Shape 66">
                  <a:extLst>
                    <a:ext uri="{FF2B5EF4-FFF2-40B4-BE49-F238E27FC236}">
                      <a16:creationId xmlns:a16="http://schemas.microsoft.com/office/drawing/2014/main" id="{261A8A51-44D0-C440-9620-D419D1349BFD}"/>
                    </a:ext>
                  </a:extLst>
                </p:cNvPr>
                <p:cNvSpPr/>
                <p:nvPr/>
              </p:nvSpPr>
              <p:spPr>
                <a:xfrm>
                  <a:off x="6532087" y="4738453"/>
                  <a:ext cx="721061" cy="1817108"/>
                </a:xfrm>
                <a:custGeom>
                  <a:avLst/>
                  <a:gdLst>
                    <a:gd name="connsiteX0" fmla="*/ 91165 w 721061"/>
                    <a:gd name="connsiteY0" fmla="*/ 93124 h 1817108"/>
                    <a:gd name="connsiteX1" fmla="*/ 93643 w 721061"/>
                    <a:gd name="connsiteY1" fmla="*/ 356816 h 1817108"/>
                    <a:gd name="connsiteX2" fmla="*/ 2806 w 721061"/>
                    <a:gd name="connsiteY2" fmla="*/ 1269326 h 1817108"/>
                    <a:gd name="connsiteX3" fmla="*/ 641425 w 721061"/>
                    <a:gd name="connsiteY3" fmla="*/ 1817108 h 1817108"/>
                    <a:gd name="connsiteX4" fmla="*/ 721061 w 721061"/>
                    <a:gd name="connsiteY4" fmla="*/ 1680186 h 1817108"/>
                    <a:gd name="connsiteX5" fmla="*/ 300431 w 721061"/>
                    <a:gd name="connsiteY5" fmla="*/ 1210659 h 1817108"/>
                    <a:gd name="connsiteX6" fmla="*/ 459752 w 721061"/>
                    <a:gd name="connsiteY6" fmla="*/ 753713 h 1817108"/>
                    <a:gd name="connsiteX7" fmla="*/ 596722 w 721061"/>
                    <a:gd name="connsiteY7" fmla="*/ 327363 h 1817108"/>
                    <a:gd name="connsiteX8" fmla="*/ 399131 w 721061"/>
                    <a:gd name="connsiteY8" fmla="*/ 0 h 1817108"/>
                    <a:gd name="connsiteX9" fmla="*/ 91165 w 721061"/>
                    <a:gd name="connsiteY9" fmla="*/ 93124 h 1817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1061" h="1817108">
                      <a:moveTo>
                        <a:pt x="91165" y="93124"/>
                      </a:moveTo>
                      <a:lnTo>
                        <a:pt x="93643" y="356816"/>
                      </a:lnTo>
                      <a:cubicBezTo>
                        <a:pt x="93643" y="356816"/>
                        <a:pt x="-19021" y="1218141"/>
                        <a:pt x="2806" y="1269326"/>
                      </a:cubicBezTo>
                      <a:cubicBezTo>
                        <a:pt x="56041" y="1394190"/>
                        <a:pt x="641425" y="1817108"/>
                        <a:pt x="641425" y="1817108"/>
                      </a:cubicBezTo>
                      <a:lnTo>
                        <a:pt x="721061" y="1680186"/>
                      </a:lnTo>
                      <a:lnTo>
                        <a:pt x="300431" y="1210659"/>
                      </a:lnTo>
                      <a:lnTo>
                        <a:pt x="459752" y="753713"/>
                      </a:lnTo>
                      <a:cubicBezTo>
                        <a:pt x="504312" y="647578"/>
                        <a:pt x="599152" y="442458"/>
                        <a:pt x="596722" y="327363"/>
                      </a:cubicBezTo>
                      <a:cubicBezTo>
                        <a:pt x="594673" y="228711"/>
                        <a:pt x="399131" y="0"/>
                        <a:pt x="399131" y="0"/>
                      </a:cubicBezTo>
                      <a:lnTo>
                        <a:pt x="91165" y="93124"/>
                      </a:lnTo>
                      <a:close/>
                    </a:path>
                  </a:pathLst>
                </a:custGeom>
                <a:solidFill>
                  <a:schemeClr val="accent1">
                    <a:lumMod val="75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68" name="Freeform: Shape 67">
                  <a:extLst>
                    <a:ext uri="{FF2B5EF4-FFF2-40B4-BE49-F238E27FC236}">
                      <a16:creationId xmlns:a16="http://schemas.microsoft.com/office/drawing/2014/main" id="{85AA170E-19EC-9C56-81FF-5DED6C0BC633}"/>
                    </a:ext>
                  </a:extLst>
                </p:cNvPr>
                <p:cNvSpPr/>
                <p:nvPr/>
              </p:nvSpPr>
              <p:spPr>
                <a:xfrm>
                  <a:off x="6498977" y="3875446"/>
                  <a:ext cx="670713" cy="1328224"/>
                </a:xfrm>
                <a:custGeom>
                  <a:avLst/>
                  <a:gdLst>
                    <a:gd name="connsiteX0" fmla="*/ 376957 w 670713"/>
                    <a:gd name="connsiteY0" fmla="*/ 1321383 h 1328224"/>
                    <a:gd name="connsiteX1" fmla="*/ 670436 w 670713"/>
                    <a:gd name="connsiteY1" fmla="*/ 1188083 h 1328224"/>
                    <a:gd name="connsiteX2" fmla="*/ 526127 w 670713"/>
                    <a:gd name="connsiteY2" fmla="*/ 709072 h 1328224"/>
                    <a:gd name="connsiteX3" fmla="*/ 475800 w 670713"/>
                    <a:gd name="connsiteY3" fmla="*/ 242308 h 1328224"/>
                    <a:gd name="connsiteX4" fmla="*/ 343691 w 670713"/>
                    <a:gd name="connsiteY4" fmla="*/ 10595 h 1328224"/>
                    <a:gd name="connsiteX5" fmla="*/ 289695 w 670713"/>
                    <a:gd name="connsiteY5" fmla="*/ 62 h 1328224"/>
                    <a:gd name="connsiteX6" fmla="*/ 107069 w 670713"/>
                    <a:gd name="connsiteY6" fmla="*/ 32708 h 1328224"/>
                    <a:gd name="connsiteX7" fmla="*/ 26527 w 670713"/>
                    <a:gd name="connsiteY7" fmla="*/ 441471 h 1328224"/>
                    <a:gd name="connsiteX8" fmla="*/ 696 w 670713"/>
                    <a:gd name="connsiteY8" fmla="*/ 1030478 h 1328224"/>
                    <a:gd name="connsiteX9" fmla="*/ 3603 w 670713"/>
                    <a:gd name="connsiteY9" fmla="*/ 1058453 h 1328224"/>
                    <a:gd name="connsiteX10" fmla="*/ 376957 w 670713"/>
                    <a:gd name="connsiteY10" fmla="*/ 1321383 h 1328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70713" h="1328224">
                      <a:moveTo>
                        <a:pt x="376957" y="1321383"/>
                      </a:moveTo>
                      <a:cubicBezTo>
                        <a:pt x="532036" y="1286164"/>
                        <a:pt x="657568" y="1231357"/>
                        <a:pt x="670436" y="1188083"/>
                      </a:cubicBezTo>
                      <a:cubicBezTo>
                        <a:pt x="676250" y="1168496"/>
                        <a:pt x="589750" y="971763"/>
                        <a:pt x="526127" y="709072"/>
                      </a:cubicBezTo>
                      <a:cubicBezTo>
                        <a:pt x="505348" y="623287"/>
                        <a:pt x="509065" y="542745"/>
                        <a:pt x="475800" y="242308"/>
                      </a:cubicBezTo>
                      <a:cubicBezTo>
                        <a:pt x="468746" y="178590"/>
                        <a:pt x="442344" y="45051"/>
                        <a:pt x="343691" y="10595"/>
                      </a:cubicBezTo>
                      <a:cubicBezTo>
                        <a:pt x="308997" y="-1463"/>
                        <a:pt x="289695" y="62"/>
                        <a:pt x="289695" y="62"/>
                      </a:cubicBezTo>
                      <a:cubicBezTo>
                        <a:pt x="288885" y="205"/>
                        <a:pt x="164164" y="1063"/>
                        <a:pt x="107069" y="32708"/>
                      </a:cubicBezTo>
                      <a:cubicBezTo>
                        <a:pt x="93010" y="51819"/>
                        <a:pt x="40491" y="156381"/>
                        <a:pt x="26527" y="441471"/>
                      </a:cubicBezTo>
                      <a:cubicBezTo>
                        <a:pt x="20427" y="565954"/>
                        <a:pt x="-4451" y="965568"/>
                        <a:pt x="696" y="1030478"/>
                      </a:cubicBezTo>
                      <a:cubicBezTo>
                        <a:pt x="1459" y="1040105"/>
                        <a:pt x="2412" y="1049446"/>
                        <a:pt x="3603" y="1058453"/>
                      </a:cubicBezTo>
                      <a:cubicBezTo>
                        <a:pt x="25908" y="1230928"/>
                        <a:pt x="207294" y="1359891"/>
                        <a:pt x="376957" y="1321383"/>
                      </a:cubicBezTo>
                      <a:close/>
                    </a:path>
                  </a:pathLst>
                </a:custGeom>
                <a:solidFill>
                  <a:schemeClr val="accent1">
                    <a:lumMod val="60000"/>
                    <a:lumOff val="40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69" name="Freeform: Shape 68">
                  <a:extLst>
                    <a:ext uri="{FF2B5EF4-FFF2-40B4-BE49-F238E27FC236}">
                      <a16:creationId xmlns:a16="http://schemas.microsoft.com/office/drawing/2014/main" id="{9E3B7FCE-7DF6-8039-EB0F-5D81F0358CE0}"/>
                    </a:ext>
                  </a:extLst>
                </p:cNvPr>
                <p:cNvSpPr/>
                <p:nvPr/>
              </p:nvSpPr>
              <p:spPr>
                <a:xfrm>
                  <a:off x="6588127" y="3756220"/>
                  <a:ext cx="222658" cy="371325"/>
                </a:xfrm>
                <a:custGeom>
                  <a:avLst/>
                  <a:gdLst>
                    <a:gd name="connsiteX0" fmla="*/ 0 w 222658"/>
                    <a:gd name="connsiteY0" fmla="*/ 371304 h 371325"/>
                    <a:gd name="connsiteX1" fmla="*/ 429 w 222658"/>
                    <a:gd name="connsiteY1" fmla="*/ 371304 h 371325"/>
                    <a:gd name="connsiteX2" fmla="*/ 222658 w 222658"/>
                    <a:gd name="connsiteY2" fmla="*/ 155985 h 371325"/>
                    <a:gd name="connsiteX3" fmla="*/ 222325 w 222658"/>
                    <a:gd name="connsiteY3" fmla="*/ 155413 h 371325"/>
                    <a:gd name="connsiteX4" fmla="*/ 124197 w 222658"/>
                    <a:gd name="connsiteY4" fmla="*/ 0 h 371325"/>
                    <a:gd name="connsiteX5" fmla="*/ 7959 w 222658"/>
                    <a:gd name="connsiteY5" fmla="*/ 70343 h 371325"/>
                    <a:gd name="connsiteX6" fmla="*/ 52090 w 222658"/>
                    <a:gd name="connsiteY6" fmla="*/ 219895 h 371325"/>
                    <a:gd name="connsiteX7" fmla="*/ 50089 w 222658"/>
                    <a:gd name="connsiteY7" fmla="*/ 224279 h 371325"/>
                    <a:gd name="connsiteX8" fmla="*/ 0 w 222658"/>
                    <a:gd name="connsiteY8" fmla="*/ 371304 h 371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658" h="371325">
                      <a:moveTo>
                        <a:pt x="0" y="371304"/>
                      </a:moveTo>
                      <a:cubicBezTo>
                        <a:pt x="95" y="371352"/>
                        <a:pt x="286" y="371304"/>
                        <a:pt x="429" y="371304"/>
                      </a:cubicBezTo>
                      <a:cubicBezTo>
                        <a:pt x="63623" y="364346"/>
                        <a:pt x="222658" y="155985"/>
                        <a:pt x="222658" y="155985"/>
                      </a:cubicBezTo>
                      <a:lnTo>
                        <a:pt x="222325" y="155413"/>
                      </a:lnTo>
                      <a:lnTo>
                        <a:pt x="124197" y="0"/>
                      </a:lnTo>
                      <a:cubicBezTo>
                        <a:pt x="124197" y="0"/>
                        <a:pt x="-20350" y="26307"/>
                        <a:pt x="7959" y="70343"/>
                      </a:cubicBezTo>
                      <a:cubicBezTo>
                        <a:pt x="36220" y="114284"/>
                        <a:pt x="52090" y="219895"/>
                        <a:pt x="52090" y="219895"/>
                      </a:cubicBezTo>
                      <a:cubicBezTo>
                        <a:pt x="51614" y="221086"/>
                        <a:pt x="50994" y="222563"/>
                        <a:pt x="50089" y="224279"/>
                      </a:cubicBezTo>
                      <a:cubicBezTo>
                        <a:pt x="40175" y="245868"/>
                        <a:pt x="7816" y="309730"/>
                        <a:pt x="0" y="371304"/>
                      </a:cubicBezTo>
                      <a:close/>
                    </a:path>
                  </a:pathLst>
                </a:custGeom>
                <a:solidFill>
                  <a:schemeClr val="bg1"/>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70" name="Freeform: Shape 69">
                  <a:extLst>
                    <a:ext uri="{FF2B5EF4-FFF2-40B4-BE49-F238E27FC236}">
                      <a16:creationId xmlns:a16="http://schemas.microsoft.com/office/drawing/2014/main" id="{FD1204CD-C8A8-F471-FF1D-49C7F20C83A6}"/>
                    </a:ext>
                  </a:extLst>
                </p:cNvPr>
                <p:cNvSpPr/>
                <p:nvPr/>
              </p:nvSpPr>
              <p:spPr>
                <a:xfrm>
                  <a:off x="6592471" y="3756220"/>
                  <a:ext cx="128117" cy="143927"/>
                </a:xfrm>
                <a:custGeom>
                  <a:avLst/>
                  <a:gdLst>
                    <a:gd name="connsiteX0" fmla="*/ 3663 w 128117"/>
                    <a:gd name="connsiteY0" fmla="*/ 70296 h 143927"/>
                    <a:gd name="connsiteX1" fmla="*/ 119949 w 128117"/>
                    <a:gd name="connsiteY1" fmla="*/ 0 h 143927"/>
                    <a:gd name="connsiteX2" fmla="*/ 128098 w 128117"/>
                    <a:gd name="connsiteY2" fmla="*/ 12915 h 143927"/>
                    <a:gd name="connsiteX3" fmla="*/ 124047 w 128117"/>
                    <a:gd name="connsiteY3" fmla="*/ 42416 h 143927"/>
                    <a:gd name="connsiteX4" fmla="*/ 31924 w 128117"/>
                    <a:gd name="connsiteY4" fmla="*/ 143928 h 143927"/>
                    <a:gd name="connsiteX5" fmla="*/ 3663 w 128117"/>
                    <a:gd name="connsiteY5" fmla="*/ 70296 h 143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8117" h="143927">
                      <a:moveTo>
                        <a:pt x="3663" y="70296"/>
                      </a:moveTo>
                      <a:cubicBezTo>
                        <a:pt x="-24598" y="26307"/>
                        <a:pt x="119949" y="0"/>
                        <a:pt x="119949" y="0"/>
                      </a:cubicBezTo>
                      <a:lnTo>
                        <a:pt x="128098" y="12915"/>
                      </a:lnTo>
                      <a:cubicBezTo>
                        <a:pt x="128289" y="23877"/>
                        <a:pt x="127098" y="33837"/>
                        <a:pt x="124047" y="42416"/>
                      </a:cubicBezTo>
                      <a:cubicBezTo>
                        <a:pt x="108415" y="86500"/>
                        <a:pt x="70861" y="125246"/>
                        <a:pt x="31924" y="143928"/>
                      </a:cubicBezTo>
                      <a:cubicBezTo>
                        <a:pt x="24728" y="116715"/>
                        <a:pt x="15244" y="88311"/>
                        <a:pt x="3663" y="70296"/>
                      </a:cubicBezTo>
                      <a:close/>
                    </a:path>
                  </a:pathLst>
                </a:custGeom>
                <a:solidFill>
                  <a:schemeClr val="accent1">
                    <a:lumMod val="40000"/>
                    <a:lumOff val="60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grpSp>
              <p:nvGrpSpPr>
                <p:cNvPr id="71" name="Graphic 2">
                  <a:extLst>
                    <a:ext uri="{FF2B5EF4-FFF2-40B4-BE49-F238E27FC236}">
                      <a16:creationId xmlns:a16="http://schemas.microsoft.com/office/drawing/2014/main" id="{212F25FC-CA50-443D-B225-CDCF506E333F}"/>
                    </a:ext>
                  </a:extLst>
                </p:cNvPr>
                <p:cNvGrpSpPr/>
                <p:nvPr/>
              </p:nvGrpSpPr>
              <p:grpSpPr>
                <a:xfrm>
                  <a:off x="6424797" y="3425130"/>
                  <a:ext cx="360490" cy="450284"/>
                  <a:chOff x="6424797" y="3425130"/>
                  <a:chExt cx="360490" cy="450284"/>
                </a:xfrm>
              </p:grpSpPr>
              <p:sp>
                <p:nvSpPr>
                  <p:cNvPr id="72" name="Freeform: Shape 71">
                    <a:extLst>
                      <a:ext uri="{FF2B5EF4-FFF2-40B4-BE49-F238E27FC236}">
                        <a16:creationId xmlns:a16="http://schemas.microsoft.com/office/drawing/2014/main" id="{DF2C8A4E-6CE7-F122-B942-6D7436CE21BC}"/>
                      </a:ext>
                    </a:extLst>
                  </p:cNvPr>
                  <p:cNvSpPr/>
                  <p:nvPr/>
                </p:nvSpPr>
                <p:spPr>
                  <a:xfrm>
                    <a:off x="6440254" y="3494603"/>
                    <a:ext cx="281004" cy="380810"/>
                  </a:xfrm>
                  <a:custGeom>
                    <a:avLst/>
                    <a:gdLst>
                      <a:gd name="connsiteX0" fmla="*/ 190527 w 281004"/>
                      <a:gd name="connsiteY0" fmla="*/ 15844 h 380810"/>
                      <a:gd name="connsiteX1" fmla="*/ 276931 w 281004"/>
                      <a:gd name="connsiteY1" fmla="*/ 267431 h 380810"/>
                      <a:gd name="connsiteX2" fmla="*/ 109460 w 281004"/>
                      <a:gd name="connsiteY2" fmla="*/ 374376 h 380810"/>
                      <a:gd name="connsiteX3" fmla="*/ 16336 w 281004"/>
                      <a:gd name="connsiteY3" fmla="*/ 50587 h 380810"/>
                      <a:gd name="connsiteX4" fmla="*/ 190527 w 281004"/>
                      <a:gd name="connsiteY4" fmla="*/ 15844 h 38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004" h="380810">
                        <a:moveTo>
                          <a:pt x="190527" y="15844"/>
                        </a:moveTo>
                        <a:cubicBezTo>
                          <a:pt x="193625" y="12889"/>
                          <a:pt x="303238" y="193179"/>
                          <a:pt x="276931" y="267431"/>
                        </a:cubicBezTo>
                        <a:cubicBezTo>
                          <a:pt x="250624" y="341682"/>
                          <a:pt x="162027" y="400874"/>
                          <a:pt x="109460" y="374376"/>
                        </a:cubicBezTo>
                        <a:cubicBezTo>
                          <a:pt x="51270" y="345066"/>
                          <a:pt x="-36660" y="138278"/>
                          <a:pt x="16336" y="50587"/>
                        </a:cubicBezTo>
                        <a:cubicBezTo>
                          <a:pt x="69380" y="-37104"/>
                          <a:pt x="190527" y="15844"/>
                          <a:pt x="190527" y="15844"/>
                        </a:cubicBezTo>
                        <a:close/>
                      </a:path>
                    </a:pathLst>
                  </a:custGeom>
                  <a:solidFill>
                    <a:schemeClr val="bg1"/>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73" name="Freeform: Shape 72">
                    <a:extLst>
                      <a:ext uri="{FF2B5EF4-FFF2-40B4-BE49-F238E27FC236}">
                        <a16:creationId xmlns:a16="http://schemas.microsoft.com/office/drawing/2014/main" id="{5092576B-870B-8A28-160B-30B4898341C9}"/>
                      </a:ext>
                    </a:extLst>
                  </p:cNvPr>
                  <p:cNvSpPr/>
                  <p:nvPr/>
                </p:nvSpPr>
                <p:spPr>
                  <a:xfrm>
                    <a:off x="6424797" y="3425130"/>
                    <a:ext cx="360490" cy="389185"/>
                  </a:xfrm>
                  <a:custGeom>
                    <a:avLst/>
                    <a:gdLst>
                      <a:gd name="connsiteX0" fmla="*/ 47235 w 360490"/>
                      <a:gd name="connsiteY0" fmla="*/ 4441 h 389185"/>
                      <a:gd name="connsiteX1" fmla="*/ 291864 w 360490"/>
                      <a:gd name="connsiteY1" fmla="*/ 55292 h 389185"/>
                      <a:gd name="connsiteX2" fmla="*/ 338330 w 360490"/>
                      <a:gd name="connsiteY2" fmla="*/ 276140 h 389185"/>
                      <a:gd name="connsiteX3" fmla="*/ 324033 w 360490"/>
                      <a:gd name="connsiteY3" fmla="*/ 389185 h 389185"/>
                      <a:gd name="connsiteX4" fmla="*/ 189208 w 360490"/>
                      <a:gd name="connsiteY4" fmla="*/ 305831 h 389185"/>
                      <a:gd name="connsiteX5" fmla="*/ 170002 w 360490"/>
                      <a:gd name="connsiteY5" fmla="*/ 234058 h 389185"/>
                      <a:gd name="connsiteX6" fmla="*/ 123011 w 360490"/>
                      <a:gd name="connsiteY6" fmla="*/ 147177 h 389185"/>
                      <a:gd name="connsiteX7" fmla="*/ 23120 w 360490"/>
                      <a:gd name="connsiteY7" fmla="*/ 140362 h 389185"/>
                      <a:gd name="connsiteX8" fmla="*/ 47235 w 360490"/>
                      <a:gd name="connsiteY8" fmla="*/ 4441 h 389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0490" h="389185">
                        <a:moveTo>
                          <a:pt x="47235" y="4441"/>
                        </a:moveTo>
                        <a:cubicBezTo>
                          <a:pt x="111763" y="-9427"/>
                          <a:pt x="227001" y="9636"/>
                          <a:pt x="291864" y="55292"/>
                        </a:cubicBezTo>
                        <a:cubicBezTo>
                          <a:pt x="371643" y="111434"/>
                          <a:pt x="374265" y="211039"/>
                          <a:pt x="338330" y="276140"/>
                        </a:cubicBezTo>
                        <a:cubicBezTo>
                          <a:pt x="302396" y="341241"/>
                          <a:pt x="324033" y="389185"/>
                          <a:pt x="324033" y="389185"/>
                        </a:cubicBezTo>
                        <a:cubicBezTo>
                          <a:pt x="324033" y="389185"/>
                          <a:pt x="211893" y="382132"/>
                          <a:pt x="189208" y="305831"/>
                        </a:cubicBezTo>
                        <a:cubicBezTo>
                          <a:pt x="179676" y="273805"/>
                          <a:pt x="191543" y="252121"/>
                          <a:pt x="170002" y="234058"/>
                        </a:cubicBezTo>
                        <a:cubicBezTo>
                          <a:pt x="153417" y="220142"/>
                          <a:pt x="139453" y="179680"/>
                          <a:pt x="123011" y="147177"/>
                        </a:cubicBezTo>
                        <a:cubicBezTo>
                          <a:pt x="123011" y="147177"/>
                          <a:pt x="50666" y="108717"/>
                          <a:pt x="23120" y="140362"/>
                        </a:cubicBezTo>
                        <a:cubicBezTo>
                          <a:pt x="13683" y="151180"/>
                          <a:pt x="-35547" y="22218"/>
                          <a:pt x="47235" y="4441"/>
                        </a:cubicBezTo>
                        <a:close/>
                      </a:path>
                    </a:pathLst>
                  </a:custGeom>
                  <a:solidFill>
                    <a:schemeClr val="accent1">
                      <a:lumMod val="75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74" name="Freeform: Shape 73">
                    <a:extLst>
                      <a:ext uri="{FF2B5EF4-FFF2-40B4-BE49-F238E27FC236}">
                        <a16:creationId xmlns:a16="http://schemas.microsoft.com/office/drawing/2014/main" id="{C1BD53DE-C12C-C397-6750-BBC78B22758B}"/>
                      </a:ext>
                    </a:extLst>
                  </p:cNvPr>
                  <p:cNvSpPr/>
                  <p:nvPr/>
                </p:nvSpPr>
                <p:spPr>
                  <a:xfrm>
                    <a:off x="6577788" y="3618956"/>
                    <a:ext cx="60996" cy="87755"/>
                  </a:xfrm>
                  <a:custGeom>
                    <a:avLst/>
                    <a:gdLst>
                      <a:gd name="connsiteX0" fmla="*/ 5716 w 60996"/>
                      <a:gd name="connsiteY0" fmla="*/ 54196 h 87755"/>
                      <a:gd name="connsiteX1" fmla="*/ 48275 w 60996"/>
                      <a:gd name="connsiteY1" fmla="*/ 86508 h 87755"/>
                      <a:gd name="connsiteX2" fmla="*/ 55280 w 60996"/>
                      <a:gd name="connsiteY2" fmla="*/ 33560 h 87755"/>
                      <a:gd name="connsiteX3" fmla="*/ 12722 w 60996"/>
                      <a:gd name="connsiteY3" fmla="*/ 1248 h 87755"/>
                      <a:gd name="connsiteX4" fmla="*/ 5716 w 60996"/>
                      <a:gd name="connsiteY4" fmla="*/ 54196 h 877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96" h="87755">
                        <a:moveTo>
                          <a:pt x="5716" y="54196"/>
                        </a:moveTo>
                        <a:cubicBezTo>
                          <a:pt x="15534" y="77739"/>
                          <a:pt x="34597" y="92227"/>
                          <a:pt x="48275" y="86508"/>
                        </a:cubicBezTo>
                        <a:cubicBezTo>
                          <a:pt x="61953" y="80789"/>
                          <a:pt x="65098" y="57103"/>
                          <a:pt x="55280" y="33560"/>
                        </a:cubicBezTo>
                        <a:cubicBezTo>
                          <a:pt x="45463" y="10017"/>
                          <a:pt x="26400" y="-4471"/>
                          <a:pt x="12722" y="1248"/>
                        </a:cubicBezTo>
                        <a:cubicBezTo>
                          <a:pt x="-956" y="6967"/>
                          <a:pt x="-4101" y="30653"/>
                          <a:pt x="5716" y="54196"/>
                        </a:cubicBezTo>
                        <a:close/>
                      </a:path>
                    </a:pathLst>
                  </a:custGeom>
                  <a:solidFill>
                    <a:schemeClr val="bg1"/>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grpSp>
            <p:sp>
              <p:nvSpPr>
                <p:cNvPr id="75" name="Freeform: Shape 74">
                  <a:extLst>
                    <a:ext uri="{FF2B5EF4-FFF2-40B4-BE49-F238E27FC236}">
                      <a16:creationId xmlns:a16="http://schemas.microsoft.com/office/drawing/2014/main" id="{D1515B3E-7D58-236B-C0EC-88204D88A2A9}"/>
                    </a:ext>
                  </a:extLst>
                </p:cNvPr>
                <p:cNvSpPr/>
                <p:nvPr/>
              </p:nvSpPr>
              <p:spPr>
                <a:xfrm>
                  <a:off x="7856429" y="6467918"/>
                  <a:ext cx="201027" cy="334706"/>
                </a:xfrm>
                <a:custGeom>
                  <a:avLst/>
                  <a:gdLst>
                    <a:gd name="connsiteX0" fmla="*/ 117548 w 201027"/>
                    <a:gd name="connsiteY0" fmla="*/ 0 h 334706"/>
                    <a:gd name="connsiteX1" fmla="*/ 57595 w 201027"/>
                    <a:gd name="connsiteY1" fmla="*/ 281898 h 334706"/>
                    <a:gd name="connsiteX2" fmla="*/ 71 w 201027"/>
                    <a:gd name="connsiteY2" fmla="*/ 312351 h 334706"/>
                    <a:gd name="connsiteX3" fmla="*/ 12653 w 201027"/>
                    <a:gd name="connsiteY3" fmla="*/ 334703 h 334706"/>
                    <a:gd name="connsiteX4" fmla="*/ 182792 w 201027"/>
                    <a:gd name="connsiteY4" fmla="*/ 334369 h 334706"/>
                    <a:gd name="connsiteX5" fmla="*/ 183650 w 201027"/>
                    <a:gd name="connsiteY5" fmla="*/ 154555 h 334706"/>
                    <a:gd name="connsiteX6" fmla="*/ 199473 w 201027"/>
                    <a:gd name="connsiteY6" fmla="*/ 15679 h 334706"/>
                    <a:gd name="connsiteX7" fmla="*/ 117548 w 201027"/>
                    <a:gd name="connsiteY7" fmla="*/ 0 h 33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1027" h="334706">
                      <a:moveTo>
                        <a:pt x="117548" y="0"/>
                      </a:moveTo>
                      <a:cubicBezTo>
                        <a:pt x="117548" y="0"/>
                        <a:pt x="89525" y="262453"/>
                        <a:pt x="57595" y="281898"/>
                      </a:cubicBezTo>
                      <a:cubicBezTo>
                        <a:pt x="49111" y="287045"/>
                        <a:pt x="4218" y="290905"/>
                        <a:pt x="71" y="312351"/>
                      </a:cubicBezTo>
                      <a:cubicBezTo>
                        <a:pt x="-24" y="312876"/>
                        <a:pt x="-1311" y="335036"/>
                        <a:pt x="12653" y="334703"/>
                      </a:cubicBezTo>
                      <a:lnTo>
                        <a:pt x="182792" y="334369"/>
                      </a:lnTo>
                      <a:cubicBezTo>
                        <a:pt x="182792" y="334369"/>
                        <a:pt x="184747" y="205168"/>
                        <a:pt x="183650" y="154555"/>
                      </a:cubicBezTo>
                      <a:cubicBezTo>
                        <a:pt x="183650" y="154555"/>
                        <a:pt x="207193" y="25354"/>
                        <a:pt x="199473" y="15679"/>
                      </a:cubicBezTo>
                      <a:cubicBezTo>
                        <a:pt x="191848" y="6005"/>
                        <a:pt x="117548" y="0"/>
                        <a:pt x="117548" y="0"/>
                      </a:cubicBezTo>
                      <a:close/>
                    </a:path>
                  </a:pathLst>
                </a:custGeom>
                <a:solidFill>
                  <a:schemeClr val="accent1">
                    <a:lumMod val="75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grpSp>
          <p:sp>
            <p:nvSpPr>
              <p:cNvPr id="76" name="Freeform: Shape 75">
                <a:extLst>
                  <a:ext uri="{FF2B5EF4-FFF2-40B4-BE49-F238E27FC236}">
                    <a16:creationId xmlns:a16="http://schemas.microsoft.com/office/drawing/2014/main" id="{DE0DFC24-AA6D-EB05-0A55-3A329A42C772}"/>
                  </a:ext>
                </a:extLst>
              </p:cNvPr>
              <p:cNvSpPr/>
              <p:nvPr/>
            </p:nvSpPr>
            <p:spPr>
              <a:xfrm>
                <a:off x="3175522" y="1279517"/>
                <a:ext cx="3073145" cy="5525445"/>
              </a:xfrm>
              <a:custGeom>
                <a:avLst/>
                <a:gdLst>
                  <a:gd name="connsiteX0" fmla="*/ 1036325 w 3073147"/>
                  <a:gd name="connsiteY0" fmla="*/ 3975407 h 5525446"/>
                  <a:gd name="connsiteX1" fmla="*/ 1011353 w 3073147"/>
                  <a:gd name="connsiteY1" fmla="*/ 2935555 h 5525446"/>
                  <a:gd name="connsiteX2" fmla="*/ 1893075 w 3073147"/>
                  <a:gd name="connsiteY2" fmla="*/ 1499235 h 5525446"/>
                  <a:gd name="connsiteX3" fmla="*/ 1702919 w 3073147"/>
                  <a:gd name="connsiteY3" fmla="*/ 1124643 h 5525446"/>
                  <a:gd name="connsiteX4" fmla="*/ 657444 w 3073147"/>
                  <a:gd name="connsiteY4" fmla="*/ 1174636 h 5525446"/>
                  <a:gd name="connsiteX5" fmla="*/ 88882 w 3073147"/>
                  <a:gd name="connsiteY5" fmla="*/ 1591740 h 5525446"/>
                  <a:gd name="connsiteX6" fmla="*/ 0 w 3073147"/>
                  <a:gd name="connsiteY6" fmla="*/ 460479 h 5525446"/>
                  <a:gd name="connsiteX7" fmla="*/ 1310884 w 3073147"/>
                  <a:gd name="connsiteY7" fmla="*/ 9586 h 5525446"/>
                  <a:gd name="connsiteX8" fmla="*/ 3067705 w 3073147"/>
                  <a:gd name="connsiteY8" fmla="*/ 1240500 h 5525446"/>
                  <a:gd name="connsiteX9" fmla="*/ 2158007 w 3073147"/>
                  <a:gd name="connsiteY9" fmla="*/ 2922973 h 5525446"/>
                  <a:gd name="connsiteX10" fmla="*/ 1907706 w 3073147"/>
                  <a:gd name="connsiteY10" fmla="*/ 3562783 h 5525446"/>
                  <a:gd name="connsiteX11" fmla="*/ 2024802 w 3073147"/>
                  <a:gd name="connsiteY11" fmla="*/ 3897724 h 5525446"/>
                  <a:gd name="connsiteX12" fmla="*/ 1036325 w 3073147"/>
                  <a:gd name="connsiteY12" fmla="*/ 3975407 h 5525446"/>
                  <a:gd name="connsiteX13" fmla="*/ 1717884 w 3073147"/>
                  <a:gd name="connsiteY13" fmla="*/ 5522389 h 5525446"/>
                  <a:gd name="connsiteX14" fmla="*/ 1620423 w 3073147"/>
                  <a:gd name="connsiteY14" fmla="*/ 4282087 h 5525446"/>
                  <a:gd name="connsiteX15" fmla="*/ 1717884 w 3073147"/>
                  <a:gd name="connsiteY15" fmla="*/ 5522389 h 5525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073147" h="5525446">
                    <a:moveTo>
                      <a:pt x="1036325" y="3975407"/>
                    </a:moveTo>
                    <a:cubicBezTo>
                      <a:pt x="901119" y="3692556"/>
                      <a:pt x="863946" y="3270401"/>
                      <a:pt x="1011353" y="2935555"/>
                    </a:cubicBezTo>
                    <a:cubicBezTo>
                      <a:pt x="1259794" y="2370378"/>
                      <a:pt x="1943402" y="2139760"/>
                      <a:pt x="1893075" y="1499235"/>
                    </a:cubicBezTo>
                    <a:cubicBezTo>
                      <a:pt x="1880398" y="1337913"/>
                      <a:pt x="1808625" y="1208140"/>
                      <a:pt x="1702919" y="1124643"/>
                    </a:cubicBezTo>
                    <a:cubicBezTo>
                      <a:pt x="1424691" y="904939"/>
                      <a:pt x="976991" y="1021225"/>
                      <a:pt x="657444" y="1174636"/>
                    </a:cubicBezTo>
                    <a:cubicBezTo>
                      <a:pt x="453372" y="1272717"/>
                      <a:pt x="263788" y="1411687"/>
                      <a:pt x="88882" y="1591740"/>
                    </a:cubicBezTo>
                    <a:lnTo>
                      <a:pt x="0" y="460479"/>
                    </a:lnTo>
                    <a:cubicBezTo>
                      <a:pt x="383553" y="188304"/>
                      <a:pt x="847647" y="45997"/>
                      <a:pt x="1310884" y="9586"/>
                    </a:cubicBezTo>
                    <a:cubicBezTo>
                      <a:pt x="2260090" y="-64999"/>
                      <a:pt x="2993119" y="291007"/>
                      <a:pt x="3067705" y="1240500"/>
                    </a:cubicBezTo>
                    <a:cubicBezTo>
                      <a:pt x="3135760" y="2106447"/>
                      <a:pt x="2550566" y="2490047"/>
                      <a:pt x="2158007" y="2922973"/>
                    </a:cubicBezTo>
                    <a:cubicBezTo>
                      <a:pt x="1940113" y="3163265"/>
                      <a:pt x="1890883" y="3348370"/>
                      <a:pt x="1907706" y="3562783"/>
                    </a:cubicBezTo>
                    <a:cubicBezTo>
                      <a:pt x="1916427" y="3673636"/>
                      <a:pt x="1957985" y="3810510"/>
                      <a:pt x="2024802" y="3897724"/>
                    </a:cubicBezTo>
                    <a:lnTo>
                      <a:pt x="1036325" y="3975407"/>
                    </a:lnTo>
                    <a:close/>
                    <a:moveTo>
                      <a:pt x="1717884" y="5522389"/>
                    </a:moveTo>
                    <a:cubicBezTo>
                      <a:pt x="795223" y="5594877"/>
                      <a:pt x="688374" y="4355337"/>
                      <a:pt x="1620423" y="4282087"/>
                    </a:cubicBezTo>
                    <a:cubicBezTo>
                      <a:pt x="2538509" y="4209980"/>
                      <a:pt x="2636971" y="5450139"/>
                      <a:pt x="1717884" y="5522389"/>
                    </a:cubicBezTo>
                    <a:close/>
                  </a:path>
                </a:pathLst>
              </a:custGeom>
              <a:solidFill>
                <a:schemeClr val="accent1">
                  <a:lumMod val="75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77" name="Freeform: Shape 76">
                <a:extLst>
                  <a:ext uri="{FF2B5EF4-FFF2-40B4-BE49-F238E27FC236}">
                    <a16:creationId xmlns:a16="http://schemas.microsoft.com/office/drawing/2014/main" id="{66D81530-283A-7756-DA83-F17F226F83F8}"/>
                  </a:ext>
                </a:extLst>
              </p:cNvPr>
              <p:cNvSpPr/>
              <p:nvPr/>
            </p:nvSpPr>
            <p:spPr>
              <a:xfrm>
                <a:off x="5602468" y="3256995"/>
                <a:ext cx="303194" cy="356155"/>
              </a:xfrm>
              <a:custGeom>
                <a:avLst/>
                <a:gdLst>
                  <a:gd name="connsiteX0" fmla="*/ 245005 w 303194"/>
                  <a:gd name="connsiteY0" fmla="*/ 202791 h 356155"/>
                  <a:gd name="connsiteX1" fmla="*/ 237904 w 303194"/>
                  <a:gd name="connsiteY1" fmla="*/ 140025 h 356155"/>
                  <a:gd name="connsiteX2" fmla="*/ 215314 w 303194"/>
                  <a:gd name="connsiteY2" fmla="*/ 93892 h 356155"/>
                  <a:gd name="connsiteX3" fmla="*/ 194392 w 303194"/>
                  <a:gd name="connsiteY3" fmla="*/ 75592 h 356155"/>
                  <a:gd name="connsiteX4" fmla="*/ 177664 w 303194"/>
                  <a:gd name="connsiteY4" fmla="*/ 85362 h 356155"/>
                  <a:gd name="connsiteX5" fmla="*/ 192771 w 303194"/>
                  <a:gd name="connsiteY5" fmla="*/ 117054 h 356155"/>
                  <a:gd name="connsiteX6" fmla="*/ 191008 w 303194"/>
                  <a:gd name="connsiteY6" fmla="*/ 141884 h 356155"/>
                  <a:gd name="connsiteX7" fmla="*/ 105033 w 303194"/>
                  <a:gd name="connsiteY7" fmla="*/ 51334 h 356155"/>
                  <a:gd name="connsiteX8" fmla="*/ 91927 w 303194"/>
                  <a:gd name="connsiteY8" fmla="*/ 16305 h 356155"/>
                  <a:gd name="connsiteX9" fmla="*/ 77105 w 303194"/>
                  <a:gd name="connsiteY9" fmla="*/ 864 h 356155"/>
                  <a:gd name="connsiteX10" fmla="*/ 81251 w 303194"/>
                  <a:gd name="connsiteY10" fmla="*/ 55051 h 356155"/>
                  <a:gd name="connsiteX11" fmla="*/ 111038 w 303194"/>
                  <a:gd name="connsiteY11" fmla="*/ 109667 h 356155"/>
                  <a:gd name="connsiteX12" fmla="*/ 72339 w 303194"/>
                  <a:gd name="connsiteY12" fmla="*/ 74448 h 356155"/>
                  <a:gd name="connsiteX13" fmla="*/ 52894 w 303194"/>
                  <a:gd name="connsiteY13" fmla="*/ 44423 h 356155"/>
                  <a:gd name="connsiteX14" fmla="*/ 29542 w 303194"/>
                  <a:gd name="connsiteY14" fmla="*/ 18545 h 356155"/>
                  <a:gd name="connsiteX15" fmla="*/ 34070 w 303194"/>
                  <a:gd name="connsiteY15" fmla="*/ 51238 h 356155"/>
                  <a:gd name="connsiteX16" fmla="*/ 50559 w 303194"/>
                  <a:gd name="connsiteY16" fmla="*/ 82169 h 356155"/>
                  <a:gd name="connsiteX17" fmla="*/ 85874 w 303194"/>
                  <a:gd name="connsiteY17" fmla="*/ 133735 h 356155"/>
                  <a:gd name="connsiteX18" fmla="*/ 85588 w 303194"/>
                  <a:gd name="connsiteY18" fmla="*/ 142361 h 356155"/>
                  <a:gd name="connsiteX19" fmla="*/ 63618 w 303194"/>
                  <a:gd name="connsiteY19" fmla="*/ 116340 h 356155"/>
                  <a:gd name="connsiteX20" fmla="*/ 41743 w 303194"/>
                  <a:gd name="connsiteY20" fmla="*/ 90080 h 356155"/>
                  <a:gd name="connsiteX21" fmla="*/ 20059 w 303194"/>
                  <a:gd name="connsiteY21" fmla="*/ 60818 h 356155"/>
                  <a:gd name="connsiteX22" fmla="*/ 6809 w 303194"/>
                  <a:gd name="connsiteY22" fmla="*/ 75878 h 356155"/>
                  <a:gd name="connsiteX23" fmla="*/ 22870 w 303194"/>
                  <a:gd name="connsiteY23" fmla="*/ 102090 h 356155"/>
                  <a:gd name="connsiteX24" fmla="*/ 68908 w 303194"/>
                  <a:gd name="connsiteY24" fmla="*/ 167953 h 356155"/>
                  <a:gd name="connsiteX25" fmla="*/ 19344 w 303194"/>
                  <a:gd name="connsiteY25" fmla="*/ 119342 h 356155"/>
                  <a:gd name="connsiteX26" fmla="*/ 6142 w 303194"/>
                  <a:gd name="connsiteY26" fmla="*/ 129588 h 356155"/>
                  <a:gd name="connsiteX27" fmla="*/ 54039 w 303194"/>
                  <a:gd name="connsiteY27" fmla="*/ 191306 h 356155"/>
                  <a:gd name="connsiteX28" fmla="*/ 112181 w 303194"/>
                  <a:gd name="connsiteY28" fmla="*/ 248495 h 356155"/>
                  <a:gd name="connsiteX29" fmla="*/ 190865 w 303194"/>
                  <a:gd name="connsiteY29" fmla="*/ 296439 h 356155"/>
                  <a:gd name="connsiteX30" fmla="*/ 230421 w 303194"/>
                  <a:gd name="connsiteY30" fmla="*/ 356155 h 356155"/>
                  <a:gd name="connsiteX31" fmla="*/ 303195 w 303194"/>
                  <a:gd name="connsiteY31" fmla="*/ 268560 h 356155"/>
                  <a:gd name="connsiteX32" fmla="*/ 245005 w 303194"/>
                  <a:gd name="connsiteY32" fmla="*/ 202791 h 356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03194" h="356155">
                    <a:moveTo>
                      <a:pt x="245005" y="202791"/>
                    </a:moveTo>
                    <a:cubicBezTo>
                      <a:pt x="243289" y="194975"/>
                      <a:pt x="249627" y="201171"/>
                      <a:pt x="237904" y="140025"/>
                    </a:cubicBezTo>
                    <a:cubicBezTo>
                      <a:pt x="234520" y="122392"/>
                      <a:pt x="223511" y="103805"/>
                      <a:pt x="215314" y="93892"/>
                    </a:cubicBezTo>
                    <a:cubicBezTo>
                      <a:pt x="210881" y="88555"/>
                      <a:pt x="200730" y="79357"/>
                      <a:pt x="194392" y="75592"/>
                    </a:cubicBezTo>
                    <a:cubicBezTo>
                      <a:pt x="183812" y="69301"/>
                      <a:pt x="175567" y="79547"/>
                      <a:pt x="177664" y="85362"/>
                    </a:cubicBezTo>
                    <a:cubicBezTo>
                      <a:pt x="179760" y="91176"/>
                      <a:pt x="190674" y="111240"/>
                      <a:pt x="192771" y="117054"/>
                    </a:cubicBezTo>
                    <a:cubicBezTo>
                      <a:pt x="194868" y="122869"/>
                      <a:pt x="195822" y="137118"/>
                      <a:pt x="191008" y="141884"/>
                    </a:cubicBezTo>
                    <a:cubicBezTo>
                      <a:pt x="186195" y="146650"/>
                      <a:pt x="109751" y="59007"/>
                      <a:pt x="105033" y="51334"/>
                    </a:cubicBezTo>
                    <a:cubicBezTo>
                      <a:pt x="100982" y="44805"/>
                      <a:pt x="91927" y="16305"/>
                      <a:pt x="91927" y="16305"/>
                    </a:cubicBezTo>
                    <a:cubicBezTo>
                      <a:pt x="91927" y="16305"/>
                      <a:pt x="85254" y="-4426"/>
                      <a:pt x="77105" y="864"/>
                    </a:cubicBezTo>
                    <a:cubicBezTo>
                      <a:pt x="71767" y="4343"/>
                      <a:pt x="65953" y="21405"/>
                      <a:pt x="81251" y="55051"/>
                    </a:cubicBezTo>
                    <a:cubicBezTo>
                      <a:pt x="94643" y="84456"/>
                      <a:pt x="113182" y="107952"/>
                      <a:pt x="111038" y="109667"/>
                    </a:cubicBezTo>
                    <a:cubicBezTo>
                      <a:pt x="105557" y="114195"/>
                      <a:pt x="72339" y="74448"/>
                      <a:pt x="72339" y="74448"/>
                    </a:cubicBezTo>
                    <a:cubicBezTo>
                      <a:pt x="72339" y="74448"/>
                      <a:pt x="60758" y="52287"/>
                      <a:pt x="52894" y="44423"/>
                    </a:cubicBezTo>
                    <a:cubicBezTo>
                      <a:pt x="47938" y="29697"/>
                      <a:pt x="38931" y="11396"/>
                      <a:pt x="29542" y="18545"/>
                    </a:cubicBezTo>
                    <a:cubicBezTo>
                      <a:pt x="27779" y="19880"/>
                      <a:pt x="34070" y="51238"/>
                      <a:pt x="34070" y="51238"/>
                    </a:cubicBezTo>
                    <a:cubicBezTo>
                      <a:pt x="34070" y="51238"/>
                      <a:pt x="45651" y="71970"/>
                      <a:pt x="50559" y="82169"/>
                    </a:cubicBezTo>
                    <a:cubicBezTo>
                      <a:pt x="59281" y="100183"/>
                      <a:pt x="79059" y="122011"/>
                      <a:pt x="85874" y="133735"/>
                    </a:cubicBezTo>
                    <a:cubicBezTo>
                      <a:pt x="91546" y="143505"/>
                      <a:pt x="86017" y="141217"/>
                      <a:pt x="85588" y="142361"/>
                    </a:cubicBezTo>
                    <a:cubicBezTo>
                      <a:pt x="85254" y="143266"/>
                      <a:pt x="76676" y="132305"/>
                      <a:pt x="63618" y="116340"/>
                    </a:cubicBezTo>
                    <a:cubicBezTo>
                      <a:pt x="57041" y="108285"/>
                      <a:pt x="47986" y="100612"/>
                      <a:pt x="41743" y="90080"/>
                    </a:cubicBezTo>
                    <a:cubicBezTo>
                      <a:pt x="35928" y="80358"/>
                      <a:pt x="26158" y="68062"/>
                      <a:pt x="20059" y="60818"/>
                    </a:cubicBezTo>
                    <a:cubicBezTo>
                      <a:pt x="2853" y="40277"/>
                      <a:pt x="-6297" y="54241"/>
                      <a:pt x="6809" y="75878"/>
                    </a:cubicBezTo>
                    <a:cubicBezTo>
                      <a:pt x="11813" y="84123"/>
                      <a:pt x="17294" y="93035"/>
                      <a:pt x="22870" y="102090"/>
                    </a:cubicBezTo>
                    <a:cubicBezTo>
                      <a:pt x="44650" y="137214"/>
                      <a:pt x="71529" y="164617"/>
                      <a:pt x="68908" y="167953"/>
                    </a:cubicBezTo>
                    <a:cubicBezTo>
                      <a:pt x="65524" y="172242"/>
                      <a:pt x="19344" y="119342"/>
                      <a:pt x="19344" y="119342"/>
                    </a:cubicBezTo>
                    <a:cubicBezTo>
                      <a:pt x="19344" y="119342"/>
                      <a:pt x="-13207" y="97658"/>
                      <a:pt x="6142" y="129588"/>
                    </a:cubicBezTo>
                    <a:cubicBezTo>
                      <a:pt x="28637" y="166619"/>
                      <a:pt x="52894" y="190352"/>
                      <a:pt x="54039" y="191306"/>
                    </a:cubicBezTo>
                    <a:cubicBezTo>
                      <a:pt x="61712" y="197978"/>
                      <a:pt x="82157" y="229432"/>
                      <a:pt x="112181" y="248495"/>
                    </a:cubicBezTo>
                    <a:cubicBezTo>
                      <a:pt x="142206" y="267606"/>
                      <a:pt x="190865" y="296439"/>
                      <a:pt x="190865" y="296439"/>
                    </a:cubicBezTo>
                    <a:cubicBezTo>
                      <a:pt x="196441" y="303207"/>
                      <a:pt x="210691" y="325130"/>
                      <a:pt x="230421" y="356155"/>
                    </a:cubicBezTo>
                    <a:lnTo>
                      <a:pt x="303195" y="268560"/>
                    </a:lnTo>
                    <a:cubicBezTo>
                      <a:pt x="277793" y="241918"/>
                      <a:pt x="246244" y="208224"/>
                      <a:pt x="245005" y="202791"/>
                    </a:cubicBezTo>
                    <a:close/>
                  </a:path>
                </a:pathLst>
              </a:custGeom>
              <a:solidFill>
                <a:schemeClr val="bg1"/>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78" name="Freeform: Shape 77">
                <a:extLst>
                  <a:ext uri="{FF2B5EF4-FFF2-40B4-BE49-F238E27FC236}">
                    <a16:creationId xmlns:a16="http://schemas.microsoft.com/office/drawing/2014/main" id="{317DF954-64AD-9B68-A6C2-00A9C99F0656}"/>
                  </a:ext>
                </a:extLst>
              </p:cNvPr>
              <p:cNvSpPr/>
              <p:nvPr/>
            </p:nvSpPr>
            <p:spPr>
              <a:xfrm>
                <a:off x="5790092" y="3495244"/>
                <a:ext cx="1128982" cy="672562"/>
              </a:xfrm>
              <a:custGeom>
                <a:avLst/>
                <a:gdLst>
                  <a:gd name="connsiteX0" fmla="*/ 0 w 1128982"/>
                  <a:gd name="connsiteY0" fmla="*/ 88024 h 672562"/>
                  <a:gd name="connsiteX1" fmla="*/ 100606 w 1128982"/>
                  <a:gd name="connsiteY1" fmla="*/ 0 h 672562"/>
                  <a:gd name="connsiteX2" fmla="*/ 446127 w 1128982"/>
                  <a:gd name="connsiteY2" fmla="*/ 340946 h 672562"/>
                  <a:gd name="connsiteX3" fmla="*/ 982424 w 1128982"/>
                  <a:gd name="connsiteY3" fmla="*/ 388223 h 672562"/>
                  <a:gd name="connsiteX4" fmla="*/ 1003823 w 1128982"/>
                  <a:gd name="connsiteY4" fmla="*/ 394943 h 672562"/>
                  <a:gd name="connsiteX5" fmla="*/ 1080600 w 1128982"/>
                  <a:gd name="connsiteY5" fmla="*/ 644814 h 672562"/>
                  <a:gd name="connsiteX6" fmla="*/ 354957 w 1128982"/>
                  <a:gd name="connsiteY6" fmla="*/ 571564 h 672562"/>
                  <a:gd name="connsiteX7" fmla="*/ 0 w 1128982"/>
                  <a:gd name="connsiteY7" fmla="*/ 88024 h 672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8982" h="672562">
                    <a:moveTo>
                      <a:pt x="0" y="88024"/>
                    </a:moveTo>
                    <a:lnTo>
                      <a:pt x="100606" y="0"/>
                    </a:lnTo>
                    <a:lnTo>
                      <a:pt x="446127" y="340946"/>
                    </a:lnTo>
                    <a:cubicBezTo>
                      <a:pt x="446127" y="340946"/>
                      <a:pt x="980995" y="387842"/>
                      <a:pt x="982424" y="388223"/>
                    </a:cubicBezTo>
                    <a:lnTo>
                      <a:pt x="1003823" y="394943"/>
                    </a:lnTo>
                    <a:cubicBezTo>
                      <a:pt x="1197839" y="461950"/>
                      <a:pt x="1117964" y="620270"/>
                      <a:pt x="1080600" y="644814"/>
                    </a:cubicBezTo>
                    <a:cubicBezTo>
                      <a:pt x="993529" y="701908"/>
                      <a:pt x="509894" y="667690"/>
                      <a:pt x="354957" y="571564"/>
                    </a:cubicBezTo>
                    <a:cubicBezTo>
                      <a:pt x="227377" y="492403"/>
                      <a:pt x="0" y="88024"/>
                      <a:pt x="0" y="88024"/>
                    </a:cubicBezTo>
                    <a:close/>
                  </a:path>
                </a:pathLst>
              </a:custGeom>
              <a:solidFill>
                <a:schemeClr val="accent1">
                  <a:lumMod val="75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grpSp>
        <p:grpSp>
          <p:nvGrpSpPr>
            <p:cNvPr id="79" name="Graphic 2">
              <a:extLst>
                <a:ext uri="{FF2B5EF4-FFF2-40B4-BE49-F238E27FC236}">
                  <a16:creationId xmlns:a16="http://schemas.microsoft.com/office/drawing/2014/main" id="{1577DD95-EB3E-87E8-7AC2-98CE4DF1A71C}"/>
                </a:ext>
              </a:extLst>
            </p:cNvPr>
            <p:cNvGrpSpPr/>
            <p:nvPr/>
          </p:nvGrpSpPr>
          <p:grpSpPr>
            <a:xfrm>
              <a:off x="2604966" y="3177355"/>
              <a:ext cx="799461" cy="2849634"/>
              <a:chOff x="2054278" y="2826357"/>
              <a:chExt cx="1119437" cy="3990171"/>
            </a:xfrm>
          </p:grpSpPr>
          <p:sp>
            <p:nvSpPr>
              <p:cNvPr id="80" name="Freeform: Shape 79">
                <a:extLst>
                  <a:ext uri="{FF2B5EF4-FFF2-40B4-BE49-F238E27FC236}">
                    <a16:creationId xmlns:a16="http://schemas.microsoft.com/office/drawing/2014/main" id="{5014C027-9C8C-795B-FDF3-5BCED860C9A9}"/>
                  </a:ext>
                </a:extLst>
              </p:cNvPr>
              <p:cNvSpPr/>
              <p:nvPr/>
            </p:nvSpPr>
            <p:spPr>
              <a:xfrm>
                <a:off x="2189380" y="4009189"/>
                <a:ext cx="172617" cy="240435"/>
              </a:xfrm>
              <a:custGeom>
                <a:avLst/>
                <a:gdLst>
                  <a:gd name="connsiteX0" fmla="*/ 0 w 172617"/>
                  <a:gd name="connsiteY0" fmla="*/ 63004 h 240435"/>
                  <a:gd name="connsiteX1" fmla="*/ 10961 w 172617"/>
                  <a:gd name="connsiteY1" fmla="*/ 91408 h 240435"/>
                  <a:gd name="connsiteX2" fmla="*/ 115905 w 172617"/>
                  <a:gd name="connsiteY2" fmla="*/ 240435 h 240435"/>
                  <a:gd name="connsiteX3" fmla="*/ 172618 w 172617"/>
                  <a:gd name="connsiteY3" fmla="*/ 104038 h 240435"/>
                  <a:gd name="connsiteX4" fmla="*/ 147311 w 172617"/>
                  <a:gd name="connsiteY4" fmla="*/ 0 h 240435"/>
                  <a:gd name="connsiteX5" fmla="*/ 0 w 172617"/>
                  <a:gd name="connsiteY5" fmla="*/ 63004 h 240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2617" h="240435">
                    <a:moveTo>
                      <a:pt x="0" y="63004"/>
                    </a:moveTo>
                    <a:cubicBezTo>
                      <a:pt x="3860" y="77158"/>
                      <a:pt x="6053" y="81877"/>
                      <a:pt x="10961" y="91408"/>
                    </a:cubicBezTo>
                    <a:cubicBezTo>
                      <a:pt x="42559" y="152792"/>
                      <a:pt x="115905" y="240435"/>
                      <a:pt x="115905" y="240435"/>
                    </a:cubicBezTo>
                    <a:lnTo>
                      <a:pt x="172618" y="104038"/>
                    </a:lnTo>
                    <a:cubicBezTo>
                      <a:pt x="172618" y="104038"/>
                      <a:pt x="163372" y="61193"/>
                      <a:pt x="147311" y="0"/>
                    </a:cubicBezTo>
                    <a:cubicBezTo>
                      <a:pt x="92600" y="15203"/>
                      <a:pt x="40414" y="24020"/>
                      <a:pt x="0" y="63004"/>
                    </a:cubicBezTo>
                    <a:close/>
                  </a:path>
                </a:pathLst>
              </a:custGeom>
              <a:solidFill>
                <a:schemeClr val="bg1"/>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81" name="Freeform: Shape 80">
                <a:extLst>
                  <a:ext uri="{FF2B5EF4-FFF2-40B4-BE49-F238E27FC236}">
                    <a16:creationId xmlns:a16="http://schemas.microsoft.com/office/drawing/2014/main" id="{CFA2AC95-BC99-CF27-5956-0DDBE50F2026}"/>
                  </a:ext>
                </a:extLst>
              </p:cNvPr>
              <p:cNvSpPr/>
              <p:nvPr/>
            </p:nvSpPr>
            <p:spPr>
              <a:xfrm>
                <a:off x="2056888" y="3476940"/>
                <a:ext cx="457759" cy="619597"/>
              </a:xfrm>
              <a:custGeom>
                <a:avLst/>
                <a:gdLst>
                  <a:gd name="connsiteX0" fmla="*/ 457759 w 457759"/>
                  <a:gd name="connsiteY0" fmla="*/ 476918 h 619597"/>
                  <a:gd name="connsiteX1" fmla="*/ 131110 w 457759"/>
                  <a:gd name="connsiteY1" fmla="*/ 619558 h 619597"/>
                  <a:gd name="connsiteX2" fmla="*/ 3 w 457759"/>
                  <a:gd name="connsiteY2" fmla="*/ 190731 h 619597"/>
                  <a:gd name="connsiteX3" fmla="*/ 196164 w 457759"/>
                  <a:gd name="connsiteY3" fmla="*/ 2910 h 619597"/>
                  <a:gd name="connsiteX4" fmla="*/ 324888 w 457759"/>
                  <a:gd name="connsiteY4" fmla="*/ 149745 h 619597"/>
                  <a:gd name="connsiteX5" fmla="*/ 457759 w 457759"/>
                  <a:gd name="connsiteY5" fmla="*/ 476918 h 619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7759" h="619597">
                    <a:moveTo>
                      <a:pt x="457759" y="476918"/>
                    </a:moveTo>
                    <a:cubicBezTo>
                      <a:pt x="457759" y="476918"/>
                      <a:pt x="141357" y="622323"/>
                      <a:pt x="131110" y="619558"/>
                    </a:cubicBezTo>
                    <a:cubicBezTo>
                      <a:pt x="124534" y="617747"/>
                      <a:pt x="1337" y="397710"/>
                      <a:pt x="3" y="190731"/>
                    </a:cubicBezTo>
                    <a:cubicBezTo>
                      <a:pt x="-617" y="95129"/>
                      <a:pt x="92412" y="-19822"/>
                      <a:pt x="196164" y="2910"/>
                    </a:cubicBezTo>
                    <a:cubicBezTo>
                      <a:pt x="248397" y="14348"/>
                      <a:pt x="247587" y="29885"/>
                      <a:pt x="324888" y="149745"/>
                    </a:cubicBezTo>
                    <a:cubicBezTo>
                      <a:pt x="402237" y="269605"/>
                      <a:pt x="457759" y="476918"/>
                      <a:pt x="457759" y="476918"/>
                    </a:cubicBezTo>
                    <a:close/>
                  </a:path>
                </a:pathLst>
              </a:custGeom>
              <a:solidFill>
                <a:schemeClr val="accent1">
                  <a:lumMod val="40000"/>
                  <a:lumOff val="60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82" name="Freeform: Shape 81">
                <a:extLst>
                  <a:ext uri="{FF2B5EF4-FFF2-40B4-BE49-F238E27FC236}">
                    <a16:creationId xmlns:a16="http://schemas.microsoft.com/office/drawing/2014/main" id="{6E4B5BE6-7E8F-9127-3D1A-CFC33ABD63D3}"/>
                  </a:ext>
                </a:extLst>
              </p:cNvPr>
              <p:cNvSpPr/>
              <p:nvPr/>
            </p:nvSpPr>
            <p:spPr>
              <a:xfrm>
                <a:off x="2763565" y="6560995"/>
                <a:ext cx="206870" cy="223427"/>
              </a:xfrm>
              <a:custGeom>
                <a:avLst/>
                <a:gdLst>
                  <a:gd name="connsiteX0" fmla="*/ 21160 w 206870"/>
                  <a:gd name="connsiteY0" fmla="*/ 0 h 223427"/>
                  <a:gd name="connsiteX1" fmla="*/ 13630 w 206870"/>
                  <a:gd name="connsiteY1" fmla="*/ 132871 h 223427"/>
                  <a:gd name="connsiteX2" fmla="*/ 0 w 206870"/>
                  <a:gd name="connsiteY2" fmla="*/ 206598 h 223427"/>
                  <a:gd name="connsiteX3" fmla="*/ 198496 w 206870"/>
                  <a:gd name="connsiteY3" fmla="*/ 132298 h 223427"/>
                  <a:gd name="connsiteX4" fmla="*/ 164420 w 206870"/>
                  <a:gd name="connsiteY4" fmla="*/ 92980 h 223427"/>
                  <a:gd name="connsiteX5" fmla="*/ 155127 w 206870"/>
                  <a:gd name="connsiteY5" fmla="*/ 1811 h 223427"/>
                  <a:gd name="connsiteX6" fmla="*/ 21160 w 206870"/>
                  <a:gd name="connsiteY6" fmla="*/ 0 h 223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870" h="223427">
                    <a:moveTo>
                      <a:pt x="21160" y="0"/>
                    </a:moveTo>
                    <a:cubicBezTo>
                      <a:pt x="21160" y="0"/>
                      <a:pt x="13630" y="132632"/>
                      <a:pt x="13630" y="132871"/>
                    </a:cubicBezTo>
                    <a:cubicBezTo>
                      <a:pt x="10866" y="149694"/>
                      <a:pt x="0" y="191299"/>
                      <a:pt x="0" y="206598"/>
                    </a:cubicBezTo>
                    <a:cubicBezTo>
                      <a:pt x="0" y="264121"/>
                      <a:pt x="255829" y="157796"/>
                      <a:pt x="198496" y="132298"/>
                    </a:cubicBezTo>
                    <a:cubicBezTo>
                      <a:pt x="193301" y="130011"/>
                      <a:pt x="166136" y="112568"/>
                      <a:pt x="164420" y="92980"/>
                    </a:cubicBezTo>
                    <a:cubicBezTo>
                      <a:pt x="161799" y="62813"/>
                      <a:pt x="155127" y="1811"/>
                      <a:pt x="155127" y="1811"/>
                    </a:cubicBezTo>
                    <a:lnTo>
                      <a:pt x="21160" y="0"/>
                    </a:lnTo>
                    <a:close/>
                  </a:path>
                </a:pathLst>
              </a:custGeom>
              <a:solidFill>
                <a:schemeClr val="bg1"/>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83" name="Freeform: Shape 82">
                <a:extLst>
                  <a:ext uri="{FF2B5EF4-FFF2-40B4-BE49-F238E27FC236}">
                    <a16:creationId xmlns:a16="http://schemas.microsoft.com/office/drawing/2014/main" id="{1A51A174-180A-330D-B630-3A85591E5F1F}"/>
                  </a:ext>
                </a:extLst>
              </p:cNvPr>
              <p:cNvSpPr/>
              <p:nvPr/>
            </p:nvSpPr>
            <p:spPr>
              <a:xfrm>
                <a:off x="2754505" y="6690378"/>
                <a:ext cx="419210" cy="124075"/>
              </a:xfrm>
              <a:custGeom>
                <a:avLst/>
                <a:gdLst>
                  <a:gd name="connsiteX0" fmla="*/ 206937 w 419210"/>
                  <a:gd name="connsiteY0" fmla="*/ 2391 h 124075"/>
                  <a:gd name="connsiteX1" fmla="*/ 116100 w 419210"/>
                  <a:gd name="connsiteY1" fmla="*/ 24361 h 124075"/>
                  <a:gd name="connsiteX2" fmla="*/ 23024 w 419210"/>
                  <a:gd name="connsiteY2" fmla="*/ 1724 h 124075"/>
                  <a:gd name="connsiteX3" fmla="*/ 5 w 419210"/>
                  <a:gd name="connsiteY3" fmla="*/ 111814 h 124075"/>
                  <a:gd name="connsiteX4" fmla="*/ 412724 w 419210"/>
                  <a:gd name="connsiteY4" fmla="*/ 110861 h 124075"/>
                  <a:gd name="connsiteX5" fmla="*/ 206937 w 419210"/>
                  <a:gd name="connsiteY5" fmla="*/ 2391 h 124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9210" h="124075">
                    <a:moveTo>
                      <a:pt x="206937" y="2391"/>
                    </a:moveTo>
                    <a:cubicBezTo>
                      <a:pt x="206937" y="2391"/>
                      <a:pt x="146887" y="19977"/>
                      <a:pt x="116100" y="24361"/>
                    </a:cubicBezTo>
                    <a:cubicBezTo>
                      <a:pt x="85361" y="28746"/>
                      <a:pt x="44756" y="-8284"/>
                      <a:pt x="23024" y="1724"/>
                    </a:cubicBezTo>
                    <a:cubicBezTo>
                      <a:pt x="-948" y="12733"/>
                      <a:pt x="5" y="111814"/>
                      <a:pt x="5" y="111814"/>
                    </a:cubicBezTo>
                    <a:cubicBezTo>
                      <a:pt x="5" y="111814"/>
                      <a:pt x="322126" y="140028"/>
                      <a:pt x="412724" y="110861"/>
                    </a:cubicBezTo>
                    <a:cubicBezTo>
                      <a:pt x="448563" y="99328"/>
                      <a:pt x="329752" y="43377"/>
                      <a:pt x="206937" y="2391"/>
                    </a:cubicBezTo>
                    <a:close/>
                  </a:path>
                </a:pathLst>
              </a:custGeom>
              <a:solidFill>
                <a:schemeClr val="accent1">
                  <a:lumMod val="75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84" name="Freeform: Shape 83">
                <a:extLst>
                  <a:ext uri="{FF2B5EF4-FFF2-40B4-BE49-F238E27FC236}">
                    <a16:creationId xmlns:a16="http://schemas.microsoft.com/office/drawing/2014/main" id="{61CCF0C4-879C-6B8D-F7D2-4C9BBFD27D0A}"/>
                  </a:ext>
                </a:extLst>
              </p:cNvPr>
              <p:cNvSpPr/>
              <p:nvPr/>
            </p:nvSpPr>
            <p:spPr>
              <a:xfrm>
                <a:off x="2240184" y="6560995"/>
                <a:ext cx="206870" cy="223427"/>
              </a:xfrm>
              <a:custGeom>
                <a:avLst/>
                <a:gdLst>
                  <a:gd name="connsiteX0" fmla="*/ 21160 w 206870"/>
                  <a:gd name="connsiteY0" fmla="*/ 0 h 223427"/>
                  <a:gd name="connsiteX1" fmla="*/ 13630 w 206870"/>
                  <a:gd name="connsiteY1" fmla="*/ 132871 h 223427"/>
                  <a:gd name="connsiteX2" fmla="*/ 0 w 206870"/>
                  <a:gd name="connsiteY2" fmla="*/ 206598 h 223427"/>
                  <a:gd name="connsiteX3" fmla="*/ 198496 w 206870"/>
                  <a:gd name="connsiteY3" fmla="*/ 132298 h 223427"/>
                  <a:gd name="connsiteX4" fmla="*/ 156366 w 206870"/>
                  <a:gd name="connsiteY4" fmla="*/ 79970 h 223427"/>
                  <a:gd name="connsiteX5" fmla="*/ 155127 w 206870"/>
                  <a:gd name="connsiteY5" fmla="*/ 1858 h 223427"/>
                  <a:gd name="connsiteX6" fmla="*/ 21160 w 206870"/>
                  <a:gd name="connsiteY6" fmla="*/ 0 h 223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870" h="223427">
                    <a:moveTo>
                      <a:pt x="21160" y="0"/>
                    </a:moveTo>
                    <a:cubicBezTo>
                      <a:pt x="21160" y="0"/>
                      <a:pt x="13630" y="132632"/>
                      <a:pt x="13630" y="132871"/>
                    </a:cubicBezTo>
                    <a:cubicBezTo>
                      <a:pt x="10866" y="149694"/>
                      <a:pt x="0" y="191299"/>
                      <a:pt x="0" y="206598"/>
                    </a:cubicBezTo>
                    <a:cubicBezTo>
                      <a:pt x="0" y="264121"/>
                      <a:pt x="255829" y="157796"/>
                      <a:pt x="198496" y="132298"/>
                    </a:cubicBezTo>
                    <a:cubicBezTo>
                      <a:pt x="193301" y="130011"/>
                      <a:pt x="158034" y="99510"/>
                      <a:pt x="156366" y="79970"/>
                    </a:cubicBezTo>
                    <a:cubicBezTo>
                      <a:pt x="153745" y="49802"/>
                      <a:pt x="155127" y="1858"/>
                      <a:pt x="155127" y="1858"/>
                    </a:cubicBezTo>
                    <a:lnTo>
                      <a:pt x="21160" y="0"/>
                    </a:lnTo>
                    <a:close/>
                  </a:path>
                </a:pathLst>
              </a:custGeom>
              <a:solidFill>
                <a:schemeClr val="bg1"/>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85" name="Freeform: Shape 84">
                <a:extLst>
                  <a:ext uri="{FF2B5EF4-FFF2-40B4-BE49-F238E27FC236}">
                    <a16:creationId xmlns:a16="http://schemas.microsoft.com/office/drawing/2014/main" id="{B3F083EF-D239-275C-4E66-E535F55700FD}"/>
                  </a:ext>
                </a:extLst>
              </p:cNvPr>
              <p:cNvSpPr/>
              <p:nvPr/>
            </p:nvSpPr>
            <p:spPr>
              <a:xfrm>
                <a:off x="2229222" y="6690378"/>
                <a:ext cx="420930" cy="126150"/>
              </a:xfrm>
              <a:custGeom>
                <a:avLst/>
                <a:gdLst>
                  <a:gd name="connsiteX0" fmla="*/ 208838 w 420930"/>
                  <a:gd name="connsiteY0" fmla="*/ 2391 h 126150"/>
                  <a:gd name="connsiteX1" fmla="*/ 118001 w 420930"/>
                  <a:gd name="connsiteY1" fmla="*/ 24361 h 126150"/>
                  <a:gd name="connsiteX2" fmla="*/ 24925 w 420930"/>
                  <a:gd name="connsiteY2" fmla="*/ 1724 h 126150"/>
                  <a:gd name="connsiteX3" fmla="*/ 0 w 420930"/>
                  <a:gd name="connsiteY3" fmla="*/ 111814 h 126150"/>
                  <a:gd name="connsiteX4" fmla="*/ 414578 w 420930"/>
                  <a:gd name="connsiteY4" fmla="*/ 110861 h 126150"/>
                  <a:gd name="connsiteX5" fmla="*/ 208838 w 420930"/>
                  <a:gd name="connsiteY5" fmla="*/ 2391 h 126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0930" h="126149">
                    <a:moveTo>
                      <a:pt x="208838" y="2391"/>
                    </a:moveTo>
                    <a:cubicBezTo>
                      <a:pt x="208838" y="2391"/>
                      <a:pt x="148789" y="19977"/>
                      <a:pt x="118001" y="24361"/>
                    </a:cubicBezTo>
                    <a:cubicBezTo>
                      <a:pt x="87214" y="28746"/>
                      <a:pt x="46657" y="-8284"/>
                      <a:pt x="24925" y="1724"/>
                    </a:cubicBezTo>
                    <a:cubicBezTo>
                      <a:pt x="953" y="12733"/>
                      <a:pt x="0" y="111814"/>
                      <a:pt x="0" y="111814"/>
                    </a:cubicBezTo>
                    <a:cubicBezTo>
                      <a:pt x="0" y="111814"/>
                      <a:pt x="323598" y="144698"/>
                      <a:pt x="414578" y="110861"/>
                    </a:cubicBezTo>
                    <a:cubicBezTo>
                      <a:pt x="449940" y="97755"/>
                      <a:pt x="331653" y="43377"/>
                      <a:pt x="208838" y="2391"/>
                    </a:cubicBezTo>
                    <a:close/>
                  </a:path>
                </a:pathLst>
              </a:custGeom>
              <a:solidFill>
                <a:schemeClr val="accent1">
                  <a:lumMod val="75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grpSp>
            <p:nvGrpSpPr>
              <p:cNvPr id="86" name="Graphic 2">
                <a:extLst>
                  <a:ext uri="{FF2B5EF4-FFF2-40B4-BE49-F238E27FC236}">
                    <a16:creationId xmlns:a16="http://schemas.microsoft.com/office/drawing/2014/main" id="{B86DD207-106A-FBEE-82BD-6EE10CDB0E55}"/>
                  </a:ext>
                </a:extLst>
              </p:cNvPr>
              <p:cNvGrpSpPr/>
              <p:nvPr/>
            </p:nvGrpSpPr>
            <p:grpSpPr>
              <a:xfrm>
                <a:off x="2339551" y="3104495"/>
                <a:ext cx="531073" cy="1188163"/>
                <a:chOff x="2339551" y="3104495"/>
                <a:chExt cx="531073" cy="1188163"/>
              </a:xfrm>
            </p:grpSpPr>
            <p:sp>
              <p:nvSpPr>
                <p:cNvPr id="87" name="Freeform: Shape 86">
                  <a:extLst>
                    <a:ext uri="{FF2B5EF4-FFF2-40B4-BE49-F238E27FC236}">
                      <a16:creationId xmlns:a16="http://schemas.microsoft.com/office/drawing/2014/main" id="{0488E4E3-C434-5E87-65BF-2531D1F34F34}"/>
                    </a:ext>
                  </a:extLst>
                </p:cNvPr>
                <p:cNvSpPr/>
                <p:nvPr/>
              </p:nvSpPr>
              <p:spPr>
                <a:xfrm>
                  <a:off x="2339551" y="3104495"/>
                  <a:ext cx="531073" cy="1188163"/>
                </a:xfrm>
                <a:custGeom>
                  <a:avLst/>
                  <a:gdLst>
                    <a:gd name="connsiteX0" fmla="*/ 0 w 531073"/>
                    <a:gd name="connsiteY0" fmla="*/ 1041187 h 1188163"/>
                    <a:gd name="connsiteX1" fmla="*/ 225327 w 531073"/>
                    <a:gd name="connsiteY1" fmla="*/ 704292 h 1188163"/>
                    <a:gd name="connsiteX2" fmla="*/ 231428 w 531073"/>
                    <a:gd name="connsiteY2" fmla="*/ 686086 h 1188163"/>
                    <a:gd name="connsiteX3" fmla="*/ 286950 w 531073"/>
                    <a:gd name="connsiteY3" fmla="*/ 513897 h 1188163"/>
                    <a:gd name="connsiteX4" fmla="*/ 287188 w 531073"/>
                    <a:gd name="connsiteY4" fmla="*/ 513135 h 1188163"/>
                    <a:gd name="connsiteX5" fmla="*/ 320596 w 531073"/>
                    <a:gd name="connsiteY5" fmla="*/ 405952 h 1188163"/>
                    <a:gd name="connsiteX6" fmla="*/ 354243 w 531073"/>
                    <a:gd name="connsiteY6" fmla="*/ 294670 h 1188163"/>
                    <a:gd name="connsiteX7" fmla="*/ 351193 w 531073"/>
                    <a:gd name="connsiteY7" fmla="*/ 286187 h 1188163"/>
                    <a:gd name="connsiteX8" fmla="*/ 327792 w 531073"/>
                    <a:gd name="connsiteY8" fmla="*/ 185104 h 1188163"/>
                    <a:gd name="connsiteX9" fmla="*/ 339564 w 531073"/>
                    <a:gd name="connsiteY9" fmla="*/ 133348 h 1188163"/>
                    <a:gd name="connsiteX10" fmla="*/ 365585 w 531073"/>
                    <a:gd name="connsiteY10" fmla="*/ 192872 h 1188163"/>
                    <a:gd name="connsiteX11" fmla="*/ 383886 w 531073"/>
                    <a:gd name="connsiteY11" fmla="*/ 116524 h 1188163"/>
                    <a:gd name="connsiteX12" fmla="*/ 388318 w 531073"/>
                    <a:gd name="connsiteY12" fmla="*/ 44894 h 1188163"/>
                    <a:gd name="connsiteX13" fmla="*/ 402330 w 531073"/>
                    <a:gd name="connsiteY13" fmla="*/ 0 h 1188163"/>
                    <a:gd name="connsiteX14" fmla="*/ 403235 w 531073"/>
                    <a:gd name="connsiteY14" fmla="*/ 48 h 1188163"/>
                    <a:gd name="connsiteX15" fmla="*/ 426445 w 531073"/>
                    <a:gd name="connsiteY15" fmla="*/ 114379 h 1188163"/>
                    <a:gd name="connsiteX16" fmla="*/ 432497 w 531073"/>
                    <a:gd name="connsiteY16" fmla="*/ 87262 h 1188163"/>
                    <a:gd name="connsiteX17" fmla="*/ 438121 w 531073"/>
                    <a:gd name="connsiteY17" fmla="*/ 49755 h 1188163"/>
                    <a:gd name="connsiteX18" fmla="*/ 456469 w 531073"/>
                    <a:gd name="connsiteY18" fmla="*/ 1668 h 1188163"/>
                    <a:gd name="connsiteX19" fmla="*/ 465572 w 531073"/>
                    <a:gd name="connsiteY19" fmla="*/ 46705 h 1188163"/>
                    <a:gd name="connsiteX20" fmla="*/ 465191 w 531073"/>
                    <a:gd name="connsiteY20" fmla="*/ 107850 h 1188163"/>
                    <a:gd name="connsiteX21" fmla="*/ 490640 w 531073"/>
                    <a:gd name="connsiteY21" fmla="*/ 26450 h 1188163"/>
                    <a:gd name="connsiteX22" fmla="*/ 504270 w 531073"/>
                    <a:gd name="connsiteY22" fmla="*/ 58238 h 1188163"/>
                    <a:gd name="connsiteX23" fmla="*/ 495597 w 531073"/>
                    <a:gd name="connsiteY23" fmla="*/ 146310 h 1188163"/>
                    <a:gd name="connsiteX24" fmla="*/ 514803 w 531073"/>
                    <a:gd name="connsiteY24" fmla="*/ 72536 h 1188163"/>
                    <a:gd name="connsiteX25" fmla="*/ 521618 w 531073"/>
                    <a:gd name="connsiteY25" fmla="*/ 185390 h 1188163"/>
                    <a:gd name="connsiteX26" fmla="*/ 518758 w 531073"/>
                    <a:gd name="connsiteY26" fmla="*/ 197877 h 1188163"/>
                    <a:gd name="connsiteX27" fmla="*/ 497264 w 531073"/>
                    <a:gd name="connsiteY27" fmla="*/ 264455 h 1188163"/>
                    <a:gd name="connsiteX28" fmla="*/ 456517 w 531073"/>
                    <a:gd name="connsiteY28" fmla="*/ 345855 h 1188163"/>
                    <a:gd name="connsiteX29" fmla="*/ 437073 w 531073"/>
                    <a:gd name="connsiteY29" fmla="*/ 475962 h 1188163"/>
                    <a:gd name="connsiteX30" fmla="*/ 423919 w 531073"/>
                    <a:gd name="connsiteY30" fmla="*/ 565225 h 1188163"/>
                    <a:gd name="connsiteX31" fmla="*/ 423680 w 531073"/>
                    <a:gd name="connsiteY31" fmla="*/ 565178 h 1188163"/>
                    <a:gd name="connsiteX32" fmla="*/ 400328 w 531073"/>
                    <a:gd name="connsiteY32" fmla="*/ 674553 h 1188163"/>
                    <a:gd name="connsiteX33" fmla="*/ 372305 w 531073"/>
                    <a:gd name="connsiteY33" fmla="*/ 792221 h 1188163"/>
                    <a:gd name="connsiteX34" fmla="*/ 108422 w 531073"/>
                    <a:gd name="connsiteY34" fmla="*/ 1179347 h 1188163"/>
                    <a:gd name="connsiteX35" fmla="*/ 102322 w 531073"/>
                    <a:gd name="connsiteY35" fmla="*/ 1188164 h 1188163"/>
                    <a:gd name="connsiteX36" fmla="*/ 0 w 531073"/>
                    <a:gd name="connsiteY36" fmla="*/ 1041187 h 1188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31073" h="1188163">
                      <a:moveTo>
                        <a:pt x="0" y="1041187"/>
                      </a:moveTo>
                      <a:lnTo>
                        <a:pt x="225327" y="704292"/>
                      </a:lnTo>
                      <a:cubicBezTo>
                        <a:pt x="226281" y="701337"/>
                        <a:pt x="228330" y="695284"/>
                        <a:pt x="231428" y="686086"/>
                      </a:cubicBezTo>
                      <a:cubicBezTo>
                        <a:pt x="242770" y="652678"/>
                        <a:pt x="266409" y="583097"/>
                        <a:pt x="286950" y="513897"/>
                      </a:cubicBezTo>
                      <a:lnTo>
                        <a:pt x="287188" y="513135"/>
                      </a:lnTo>
                      <a:cubicBezTo>
                        <a:pt x="293669" y="488925"/>
                        <a:pt x="307347" y="446747"/>
                        <a:pt x="320596" y="405952"/>
                      </a:cubicBezTo>
                      <a:cubicBezTo>
                        <a:pt x="335322" y="360581"/>
                        <a:pt x="353623" y="304297"/>
                        <a:pt x="354243" y="294670"/>
                      </a:cubicBezTo>
                      <a:cubicBezTo>
                        <a:pt x="353671" y="293050"/>
                        <a:pt x="352622" y="290095"/>
                        <a:pt x="351193" y="286187"/>
                      </a:cubicBezTo>
                      <a:cubicBezTo>
                        <a:pt x="342948" y="263311"/>
                        <a:pt x="331748" y="208790"/>
                        <a:pt x="327792" y="185104"/>
                      </a:cubicBezTo>
                      <a:cubicBezTo>
                        <a:pt x="325267" y="169997"/>
                        <a:pt x="322741" y="133348"/>
                        <a:pt x="339564" y="133348"/>
                      </a:cubicBezTo>
                      <a:cubicBezTo>
                        <a:pt x="366014" y="133348"/>
                        <a:pt x="353385" y="169997"/>
                        <a:pt x="365585" y="192872"/>
                      </a:cubicBezTo>
                      <a:cubicBezTo>
                        <a:pt x="370065" y="177574"/>
                        <a:pt x="379120" y="147216"/>
                        <a:pt x="383886" y="116524"/>
                      </a:cubicBezTo>
                      <a:lnTo>
                        <a:pt x="388318" y="44894"/>
                      </a:lnTo>
                      <a:cubicBezTo>
                        <a:pt x="389176" y="39509"/>
                        <a:pt x="383791" y="0"/>
                        <a:pt x="402330" y="0"/>
                      </a:cubicBezTo>
                      <a:lnTo>
                        <a:pt x="403235" y="48"/>
                      </a:lnTo>
                      <a:cubicBezTo>
                        <a:pt x="419868" y="1335"/>
                        <a:pt x="419534" y="43369"/>
                        <a:pt x="426445" y="114379"/>
                      </a:cubicBezTo>
                      <a:cubicBezTo>
                        <a:pt x="428637" y="106182"/>
                        <a:pt x="430829" y="96365"/>
                        <a:pt x="432497" y="87262"/>
                      </a:cubicBezTo>
                      <a:cubicBezTo>
                        <a:pt x="432307" y="82401"/>
                        <a:pt x="435643" y="61050"/>
                        <a:pt x="438121" y="49755"/>
                      </a:cubicBezTo>
                      <a:cubicBezTo>
                        <a:pt x="434785" y="29977"/>
                        <a:pt x="436739" y="-1287"/>
                        <a:pt x="456469" y="1668"/>
                      </a:cubicBezTo>
                      <a:cubicBezTo>
                        <a:pt x="466382" y="3146"/>
                        <a:pt x="465572" y="46705"/>
                        <a:pt x="465572" y="46705"/>
                      </a:cubicBezTo>
                      <a:cubicBezTo>
                        <a:pt x="465477" y="52710"/>
                        <a:pt x="464905" y="98748"/>
                        <a:pt x="465191" y="107850"/>
                      </a:cubicBezTo>
                      <a:cubicBezTo>
                        <a:pt x="467240" y="92409"/>
                        <a:pt x="475151" y="26450"/>
                        <a:pt x="490640" y="26450"/>
                      </a:cubicBezTo>
                      <a:cubicBezTo>
                        <a:pt x="503508" y="26450"/>
                        <a:pt x="504509" y="44179"/>
                        <a:pt x="504270" y="58238"/>
                      </a:cubicBezTo>
                      <a:cubicBezTo>
                        <a:pt x="504127" y="66531"/>
                        <a:pt x="496026" y="137970"/>
                        <a:pt x="495597" y="146310"/>
                      </a:cubicBezTo>
                      <a:cubicBezTo>
                        <a:pt x="501649" y="135492"/>
                        <a:pt x="508846" y="72536"/>
                        <a:pt x="514803" y="72536"/>
                      </a:cubicBezTo>
                      <a:cubicBezTo>
                        <a:pt x="539871" y="72536"/>
                        <a:pt x="530816" y="162038"/>
                        <a:pt x="521618" y="185390"/>
                      </a:cubicBezTo>
                      <a:cubicBezTo>
                        <a:pt x="520760" y="187773"/>
                        <a:pt x="519807" y="192443"/>
                        <a:pt x="518758" y="197877"/>
                      </a:cubicBezTo>
                      <a:cubicBezTo>
                        <a:pt x="515613" y="213842"/>
                        <a:pt x="510370" y="240531"/>
                        <a:pt x="497264" y="264455"/>
                      </a:cubicBezTo>
                      <a:cubicBezTo>
                        <a:pt x="481537" y="293193"/>
                        <a:pt x="459805" y="338849"/>
                        <a:pt x="456517" y="345855"/>
                      </a:cubicBezTo>
                      <a:cubicBezTo>
                        <a:pt x="454086" y="360105"/>
                        <a:pt x="446556" y="411432"/>
                        <a:pt x="437073" y="475962"/>
                      </a:cubicBezTo>
                      <a:cubicBezTo>
                        <a:pt x="433021" y="503603"/>
                        <a:pt x="428589" y="533866"/>
                        <a:pt x="423919" y="565225"/>
                      </a:cubicBezTo>
                      <a:lnTo>
                        <a:pt x="423680" y="565178"/>
                      </a:lnTo>
                      <a:cubicBezTo>
                        <a:pt x="422823" y="571945"/>
                        <a:pt x="418152" y="593534"/>
                        <a:pt x="400328" y="674553"/>
                      </a:cubicBezTo>
                      <a:cubicBezTo>
                        <a:pt x="375927" y="785358"/>
                        <a:pt x="373401" y="790171"/>
                        <a:pt x="372305" y="792221"/>
                      </a:cubicBezTo>
                      <a:cubicBezTo>
                        <a:pt x="361725" y="812237"/>
                        <a:pt x="118764" y="1164335"/>
                        <a:pt x="108422" y="1179347"/>
                      </a:cubicBezTo>
                      <a:lnTo>
                        <a:pt x="102322" y="1188164"/>
                      </a:lnTo>
                      <a:lnTo>
                        <a:pt x="0" y="1041187"/>
                      </a:lnTo>
                      <a:close/>
                    </a:path>
                  </a:pathLst>
                </a:custGeom>
                <a:solidFill>
                  <a:schemeClr val="bg1"/>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88" name="Freeform: Shape 87">
                  <a:extLst>
                    <a:ext uri="{FF2B5EF4-FFF2-40B4-BE49-F238E27FC236}">
                      <a16:creationId xmlns:a16="http://schemas.microsoft.com/office/drawing/2014/main" id="{A27E2816-E06C-ACE2-BEDC-D7C9D0D6FB97}"/>
                    </a:ext>
                  </a:extLst>
                </p:cNvPr>
                <p:cNvSpPr/>
                <p:nvPr/>
              </p:nvSpPr>
              <p:spPr>
                <a:xfrm>
                  <a:off x="2707805" y="3308092"/>
                  <a:ext cx="50851" cy="51850"/>
                </a:xfrm>
                <a:custGeom>
                  <a:avLst/>
                  <a:gdLst>
                    <a:gd name="connsiteX0" fmla="*/ 50851 w 50851"/>
                    <a:gd name="connsiteY0" fmla="*/ 51851 h 51850"/>
                    <a:gd name="connsiteX1" fmla="*/ 0 w 50851"/>
                    <a:gd name="connsiteY1" fmla="*/ 1857 h 51850"/>
                    <a:gd name="connsiteX2" fmla="*/ 33789 w 50851"/>
                    <a:gd name="connsiteY2" fmla="*/ 8053 h 51850"/>
                    <a:gd name="connsiteX3" fmla="*/ 50851 w 50851"/>
                    <a:gd name="connsiteY3" fmla="*/ 51851 h 51850"/>
                  </a:gdLst>
                  <a:ahLst/>
                  <a:cxnLst>
                    <a:cxn ang="0">
                      <a:pos x="connsiteX0" y="connsiteY0"/>
                    </a:cxn>
                    <a:cxn ang="0">
                      <a:pos x="connsiteX1" y="connsiteY1"/>
                    </a:cxn>
                    <a:cxn ang="0">
                      <a:pos x="connsiteX2" y="connsiteY2"/>
                    </a:cxn>
                    <a:cxn ang="0">
                      <a:pos x="connsiteX3" y="connsiteY3"/>
                    </a:cxn>
                  </a:cxnLst>
                  <a:rect l="l" t="t" r="r" b="b"/>
                  <a:pathLst>
                    <a:path w="50851" h="51850">
                      <a:moveTo>
                        <a:pt x="50851" y="51851"/>
                      </a:moveTo>
                      <a:cubicBezTo>
                        <a:pt x="50851" y="51851"/>
                        <a:pt x="32550" y="1952"/>
                        <a:pt x="0" y="1857"/>
                      </a:cubicBezTo>
                      <a:cubicBezTo>
                        <a:pt x="0" y="1857"/>
                        <a:pt x="18205" y="-5149"/>
                        <a:pt x="33789" y="8053"/>
                      </a:cubicBezTo>
                      <a:cubicBezTo>
                        <a:pt x="49421" y="21207"/>
                        <a:pt x="50851" y="51851"/>
                        <a:pt x="50851" y="51851"/>
                      </a:cubicBezTo>
                      <a:close/>
                    </a:path>
                  </a:pathLst>
                </a:custGeom>
                <a:solidFill>
                  <a:schemeClr val="accent1">
                    <a:lumMod val="40000"/>
                    <a:lumOff val="60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grpSp>
          <p:grpSp>
            <p:nvGrpSpPr>
              <p:cNvPr id="89" name="Graphic 2">
                <a:extLst>
                  <a:ext uri="{FF2B5EF4-FFF2-40B4-BE49-F238E27FC236}">
                    <a16:creationId xmlns:a16="http://schemas.microsoft.com/office/drawing/2014/main" id="{455C0453-9828-704E-3E40-0EA6F003A049}"/>
                  </a:ext>
                </a:extLst>
              </p:cNvPr>
              <p:cNvGrpSpPr/>
              <p:nvPr/>
            </p:nvGrpSpPr>
            <p:grpSpPr>
              <a:xfrm>
                <a:off x="2054278" y="2826357"/>
                <a:ext cx="420512" cy="710399"/>
                <a:chOff x="2054278" y="2826357"/>
                <a:chExt cx="420512" cy="710399"/>
              </a:xfrm>
            </p:grpSpPr>
            <p:sp>
              <p:nvSpPr>
                <p:cNvPr id="90" name="Freeform: Shape 89">
                  <a:extLst>
                    <a:ext uri="{FF2B5EF4-FFF2-40B4-BE49-F238E27FC236}">
                      <a16:creationId xmlns:a16="http://schemas.microsoft.com/office/drawing/2014/main" id="{BDCF9F3A-1554-6379-5F1F-AE38117CA803}"/>
                    </a:ext>
                  </a:extLst>
                </p:cNvPr>
                <p:cNvSpPr/>
                <p:nvPr/>
              </p:nvSpPr>
              <p:spPr>
                <a:xfrm>
                  <a:off x="2256101" y="3252014"/>
                  <a:ext cx="204325" cy="284742"/>
                </a:xfrm>
                <a:custGeom>
                  <a:avLst/>
                  <a:gdLst>
                    <a:gd name="connsiteX0" fmla="*/ 29024 w 204325"/>
                    <a:gd name="connsiteY0" fmla="*/ 11470 h 284742"/>
                    <a:gd name="connsiteX1" fmla="*/ 0 w 204325"/>
                    <a:gd name="connsiteY1" fmla="*/ 207249 h 284742"/>
                    <a:gd name="connsiteX2" fmla="*/ 174953 w 204325"/>
                    <a:gd name="connsiteY2" fmla="*/ 281977 h 284742"/>
                    <a:gd name="connsiteX3" fmla="*/ 191919 w 204325"/>
                    <a:gd name="connsiteY3" fmla="*/ 189758 h 284742"/>
                    <a:gd name="connsiteX4" fmla="*/ 171951 w 204325"/>
                    <a:gd name="connsiteY4" fmla="*/ 30437 h 284742"/>
                    <a:gd name="connsiteX5" fmla="*/ 29024 w 204325"/>
                    <a:gd name="connsiteY5" fmla="*/ 11470 h 284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4325" h="284742">
                      <a:moveTo>
                        <a:pt x="29024" y="11470"/>
                      </a:moveTo>
                      <a:lnTo>
                        <a:pt x="0" y="207249"/>
                      </a:lnTo>
                      <a:cubicBezTo>
                        <a:pt x="0" y="207249"/>
                        <a:pt x="110519" y="301945"/>
                        <a:pt x="174953" y="281977"/>
                      </a:cubicBezTo>
                      <a:cubicBezTo>
                        <a:pt x="228997" y="265201"/>
                        <a:pt x="191919" y="189758"/>
                        <a:pt x="191919" y="189758"/>
                      </a:cubicBezTo>
                      <a:cubicBezTo>
                        <a:pt x="191919" y="189758"/>
                        <a:pt x="163134" y="85244"/>
                        <a:pt x="171951" y="30437"/>
                      </a:cubicBezTo>
                      <a:cubicBezTo>
                        <a:pt x="180815" y="-24274"/>
                        <a:pt x="29024" y="11470"/>
                        <a:pt x="29024" y="11470"/>
                      </a:cubicBezTo>
                      <a:close/>
                    </a:path>
                  </a:pathLst>
                </a:custGeom>
                <a:solidFill>
                  <a:schemeClr val="bg1"/>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91" name="Freeform: Shape 90">
                  <a:extLst>
                    <a:ext uri="{FF2B5EF4-FFF2-40B4-BE49-F238E27FC236}">
                      <a16:creationId xmlns:a16="http://schemas.microsoft.com/office/drawing/2014/main" id="{4DA22A66-A036-6BED-D866-F6105B36ECDD}"/>
                    </a:ext>
                  </a:extLst>
                </p:cNvPr>
                <p:cNvSpPr/>
                <p:nvPr/>
              </p:nvSpPr>
              <p:spPr>
                <a:xfrm>
                  <a:off x="2279549" y="3252062"/>
                  <a:ext cx="151504" cy="108262"/>
                </a:xfrm>
                <a:custGeom>
                  <a:avLst/>
                  <a:gdLst>
                    <a:gd name="connsiteX0" fmla="*/ 26402 w 151504"/>
                    <a:gd name="connsiteY0" fmla="*/ 70612 h 108262"/>
                    <a:gd name="connsiteX1" fmla="*/ 151505 w 151504"/>
                    <a:gd name="connsiteY1" fmla="*/ 108262 h 108262"/>
                    <a:gd name="connsiteX2" fmla="*/ 148550 w 151504"/>
                    <a:gd name="connsiteY2" fmla="*/ 30484 h 108262"/>
                    <a:gd name="connsiteX3" fmla="*/ 88835 w 151504"/>
                    <a:gd name="connsiteY3" fmla="*/ 78 h 108262"/>
                    <a:gd name="connsiteX4" fmla="*/ 5576 w 151504"/>
                    <a:gd name="connsiteY4" fmla="*/ 11421 h 108262"/>
                    <a:gd name="connsiteX5" fmla="*/ 0 w 151504"/>
                    <a:gd name="connsiteY5" fmla="*/ 49070 h 108262"/>
                    <a:gd name="connsiteX6" fmla="*/ 26402 w 151504"/>
                    <a:gd name="connsiteY6" fmla="*/ 70612 h 10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504" h="108262">
                      <a:moveTo>
                        <a:pt x="26402" y="70612"/>
                      </a:moveTo>
                      <a:cubicBezTo>
                        <a:pt x="54092" y="84576"/>
                        <a:pt x="108899" y="103639"/>
                        <a:pt x="151505" y="108262"/>
                      </a:cubicBezTo>
                      <a:cubicBezTo>
                        <a:pt x="147406" y="80859"/>
                        <a:pt x="145119" y="51882"/>
                        <a:pt x="148550" y="30484"/>
                      </a:cubicBezTo>
                      <a:cubicBezTo>
                        <a:pt x="152649" y="5178"/>
                        <a:pt x="122481" y="-780"/>
                        <a:pt x="88835" y="78"/>
                      </a:cubicBezTo>
                      <a:cubicBezTo>
                        <a:pt x="44799" y="4129"/>
                        <a:pt x="5576" y="11421"/>
                        <a:pt x="5576" y="11421"/>
                      </a:cubicBezTo>
                      <a:lnTo>
                        <a:pt x="0" y="49070"/>
                      </a:lnTo>
                      <a:cubicBezTo>
                        <a:pt x="8340" y="58459"/>
                        <a:pt x="17157" y="65942"/>
                        <a:pt x="26402" y="70612"/>
                      </a:cubicBezTo>
                      <a:close/>
                    </a:path>
                  </a:pathLst>
                </a:custGeom>
                <a:solidFill>
                  <a:schemeClr val="accent1">
                    <a:lumMod val="40000"/>
                    <a:lumOff val="60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92" name="Freeform: Shape 91">
                  <a:extLst>
                    <a:ext uri="{FF2B5EF4-FFF2-40B4-BE49-F238E27FC236}">
                      <a16:creationId xmlns:a16="http://schemas.microsoft.com/office/drawing/2014/main" id="{D3FE1CB1-2CC6-D61A-008D-E3FF49D33964}"/>
                    </a:ext>
                  </a:extLst>
                </p:cNvPr>
                <p:cNvSpPr/>
                <p:nvPr/>
              </p:nvSpPr>
              <p:spPr>
                <a:xfrm>
                  <a:off x="2145331" y="2932406"/>
                  <a:ext cx="329459" cy="380810"/>
                </a:xfrm>
                <a:custGeom>
                  <a:avLst/>
                  <a:gdLst>
                    <a:gd name="connsiteX0" fmla="*/ 299 w 329459"/>
                    <a:gd name="connsiteY0" fmla="*/ 105225 h 380810"/>
                    <a:gd name="connsiteX1" fmla="*/ 118682 w 329459"/>
                    <a:gd name="connsiteY1" fmla="*/ 361578 h 380810"/>
                    <a:gd name="connsiteX2" fmla="*/ 325613 w 329459"/>
                    <a:gd name="connsiteY2" fmla="*/ 320687 h 380810"/>
                    <a:gd name="connsiteX3" fmla="*/ 159382 w 329459"/>
                    <a:gd name="connsiteY3" fmla="*/ 4047 h 380810"/>
                    <a:gd name="connsiteX4" fmla="*/ 299 w 329459"/>
                    <a:gd name="connsiteY4" fmla="*/ 105225 h 380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9459" h="380810">
                      <a:moveTo>
                        <a:pt x="299" y="105225"/>
                      </a:moveTo>
                      <a:cubicBezTo>
                        <a:pt x="-4276" y="105273"/>
                        <a:pt x="44002" y="323976"/>
                        <a:pt x="118682" y="361578"/>
                      </a:cubicBezTo>
                      <a:cubicBezTo>
                        <a:pt x="193362" y="399180"/>
                        <a:pt x="304739" y="379593"/>
                        <a:pt x="325613" y="320687"/>
                      </a:cubicBezTo>
                      <a:cubicBezTo>
                        <a:pt x="348728" y="255538"/>
                        <a:pt x="264420" y="32403"/>
                        <a:pt x="159382" y="4047"/>
                      </a:cubicBezTo>
                      <a:cubicBezTo>
                        <a:pt x="54343" y="-24262"/>
                        <a:pt x="299" y="105225"/>
                        <a:pt x="299" y="105225"/>
                      </a:cubicBezTo>
                      <a:close/>
                    </a:path>
                  </a:pathLst>
                </a:custGeom>
                <a:solidFill>
                  <a:schemeClr val="bg1"/>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93" name="Freeform: Shape 92">
                  <a:extLst>
                    <a:ext uri="{FF2B5EF4-FFF2-40B4-BE49-F238E27FC236}">
                      <a16:creationId xmlns:a16="http://schemas.microsoft.com/office/drawing/2014/main" id="{A28A075E-B28D-7522-74F9-B99EBC54EB52}"/>
                    </a:ext>
                  </a:extLst>
                </p:cNvPr>
                <p:cNvSpPr/>
                <p:nvPr/>
              </p:nvSpPr>
              <p:spPr>
                <a:xfrm>
                  <a:off x="2054278" y="2826357"/>
                  <a:ext cx="297694" cy="531584"/>
                </a:xfrm>
                <a:custGeom>
                  <a:avLst/>
                  <a:gdLst>
                    <a:gd name="connsiteX0" fmla="*/ 177756 w 297694"/>
                    <a:gd name="connsiteY0" fmla="*/ 10348 h 531584"/>
                    <a:gd name="connsiteX1" fmla="*/ 81535 w 297694"/>
                    <a:gd name="connsiteY1" fmla="*/ 123822 h 531584"/>
                    <a:gd name="connsiteX2" fmla="*/ 3423 w 297694"/>
                    <a:gd name="connsiteY2" fmla="*/ 251308 h 531584"/>
                    <a:gd name="connsiteX3" fmla="*/ 129860 w 297694"/>
                    <a:gd name="connsiteY3" fmla="*/ 454807 h 531584"/>
                    <a:gd name="connsiteX4" fmla="*/ 217932 w 297694"/>
                    <a:gd name="connsiteY4" fmla="*/ 531585 h 531584"/>
                    <a:gd name="connsiteX5" fmla="*/ 225367 w 297694"/>
                    <a:gd name="connsiteY5" fmla="*/ 474300 h 531584"/>
                    <a:gd name="connsiteX6" fmla="*/ 183380 w 297694"/>
                    <a:gd name="connsiteY6" fmla="*/ 399476 h 531584"/>
                    <a:gd name="connsiteX7" fmla="*/ 198583 w 297694"/>
                    <a:gd name="connsiteY7" fmla="*/ 308497 h 531584"/>
                    <a:gd name="connsiteX8" fmla="*/ 188765 w 297694"/>
                    <a:gd name="connsiteY8" fmla="*/ 203792 h 531584"/>
                    <a:gd name="connsiteX9" fmla="*/ 271929 w 297694"/>
                    <a:gd name="connsiteY9" fmla="*/ 119342 h 531584"/>
                    <a:gd name="connsiteX10" fmla="*/ 177756 w 297694"/>
                    <a:gd name="connsiteY10" fmla="*/ 10348 h 531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7694" h="531584">
                      <a:moveTo>
                        <a:pt x="177756" y="10348"/>
                      </a:moveTo>
                      <a:cubicBezTo>
                        <a:pt x="118088" y="47045"/>
                        <a:pt x="90733" y="101518"/>
                        <a:pt x="81535" y="123822"/>
                      </a:cubicBezTo>
                      <a:cubicBezTo>
                        <a:pt x="53559" y="138024"/>
                        <a:pt x="19674" y="168668"/>
                        <a:pt x="3423" y="251308"/>
                      </a:cubicBezTo>
                      <a:cubicBezTo>
                        <a:pt x="-16593" y="352914"/>
                        <a:pt x="54512" y="431217"/>
                        <a:pt x="129860" y="454807"/>
                      </a:cubicBezTo>
                      <a:cubicBezTo>
                        <a:pt x="205207" y="478351"/>
                        <a:pt x="217932" y="531585"/>
                        <a:pt x="217932" y="531585"/>
                      </a:cubicBezTo>
                      <a:lnTo>
                        <a:pt x="225367" y="474300"/>
                      </a:lnTo>
                      <a:cubicBezTo>
                        <a:pt x="225367" y="474300"/>
                        <a:pt x="208591" y="424449"/>
                        <a:pt x="183380" y="399476"/>
                      </a:cubicBezTo>
                      <a:cubicBezTo>
                        <a:pt x="158169" y="374504"/>
                        <a:pt x="195342" y="338141"/>
                        <a:pt x="198583" y="308497"/>
                      </a:cubicBezTo>
                      <a:cubicBezTo>
                        <a:pt x="201109" y="285669"/>
                        <a:pt x="185334" y="241299"/>
                        <a:pt x="188765" y="203792"/>
                      </a:cubicBezTo>
                      <a:cubicBezTo>
                        <a:pt x="188765" y="203792"/>
                        <a:pt x="230657" y="136070"/>
                        <a:pt x="271929" y="119342"/>
                      </a:cubicBezTo>
                      <a:cubicBezTo>
                        <a:pt x="342320" y="90747"/>
                        <a:pt x="254295" y="-36786"/>
                        <a:pt x="177756" y="10348"/>
                      </a:cubicBezTo>
                      <a:close/>
                    </a:path>
                  </a:pathLst>
                </a:custGeom>
                <a:solidFill>
                  <a:schemeClr val="accent1">
                    <a:lumMod val="75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94" name="Freeform: Shape 93">
                  <a:extLst>
                    <a:ext uri="{FF2B5EF4-FFF2-40B4-BE49-F238E27FC236}">
                      <a16:creationId xmlns:a16="http://schemas.microsoft.com/office/drawing/2014/main" id="{5A3CAB12-128E-9EC7-49AF-04F676497C88}"/>
                    </a:ext>
                  </a:extLst>
                </p:cNvPr>
                <p:cNvSpPr/>
                <p:nvPr/>
              </p:nvSpPr>
              <p:spPr>
                <a:xfrm>
                  <a:off x="2205243" y="3136263"/>
                  <a:ext cx="63876" cy="93768"/>
                </a:xfrm>
                <a:custGeom>
                  <a:avLst/>
                  <a:gdLst>
                    <a:gd name="connsiteX0" fmla="*/ 58531 w 63876"/>
                    <a:gd name="connsiteY0" fmla="*/ 36621 h 93768"/>
                    <a:gd name="connsiteX1" fmla="*/ 49619 w 63876"/>
                    <a:gd name="connsiteY1" fmla="*/ 92620 h 93768"/>
                    <a:gd name="connsiteX2" fmla="*/ 5345 w 63876"/>
                    <a:gd name="connsiteY2" fmla="*/ 57162 h 93768"/>
                    <a:gd name="connsiteX3" fmla="*/ 14257 w 63876"/>
                    <a:gd name="connsiteY3" fmla="*/ 1164 h 93768"/>
                    <a:gd name="connsiteX4" fmla="*/ 58531 w 63876"/>
                    <a:gd name="connsiteY4" fmla="*/ 36621 h 937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875" h="93768">
                      <a:moveTo>
                        <a:pt x="58531" y="36621"/>
                      </a:moveTo>
                      <a:cubicBezTo>
                        <a:pt x="68301" y="61880"/>
                        <a:pt x="64298" y="86948"/>
                        <a:pt x="49619" y="92620"/>
                      </a:cubicBezTo>
                      <a:cubicBezTo>
                        <a:pt x="34941" y="98291"/>
                        <a:pt x="15115" y="82421"/>
                        <a:pt x="5345" y="57162"/>
                      </a:cubicBezTo>
                      <a:cubicBezTo>
                        <a:pt x="-4425" y="31903"/>
                        <a:pt x="-422" y="6835"/>
                        <a:pt x="14257" y="1164"/>
                      </a:cubicBezTo>
                      <a:cubicBezTo>
                        <a:pt x="28936" y="-4555"/>
                        <a:pt x="48761" y="11363"/>
                        <a:pt x="58531" y="36621"/>
                      </a:cubicBezTo>
                      <a:close/>
                    </a:path>
                  </a:pathLst>
                </a:custGeom>
                <a:solidFill>
                  <a:schemeClr val="bg1"/>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grpSp>
          <p:sp>
            <p:nvSpPr>
              <p:cNvPr id="95" name="Freeform: Shape 94">
                <a:extLst>
                  <a:ext uri="{FF2B5EF4-FFF2-40B4-BE49-F238E27FC236}">
                    <a16:creationId xmlns:a16="http://schemas.microsoft.com/office/drawing/2014/main" id="{1A91DC39-130A-E05C-F1D3-786BEB4CF751}"/>
                  </a:ext>
                </a:extLst>
              </p:cNvPr>
              <p:cNvSpPr/>
              <p:nvPr/>
            </p:nvSpPr>
            <p:spPr>
              <a:xfrm>
                <a:off x="2541955" y="3942563"/>
                <a:ext cx="434641" cy="208504"/>
              </a:xfrm>
              <a:custGeom>
                <a:avLst/>
                <a:gdLst>
                  <a:gd name="connsiteX0" fmla="*/ 0 w 434641"/>
                  <a:gd name="connsiteY0" fmla="*/ 208504 h 208504"/>
                  <a:gd name="connsiteX1" fmla="*/ 434642 w 434641"/>
                  <a:gd name="connsiteY1" fmla="*/ 132871 h 208504"/>
                  <a:gd name="connsiteX2" fmla="*/ 367539 w 434641"/>
                  <a:gd name="connsiteY2" fmla="*/ 0 h 208504"/>
                  <a:gd name="connsiteX3" fmla="*/ 38889 w 434641"/>
                  <a:gd name="connsiteY3" fmla="*/ 144880 h 208504"/>
                  <a:gd name="connsiteX4" fmla="*/ 14107 w 434641"/>
                  <a:gd name="connsiteY4" fmla="*/ 197924 h 208504"/>
                  <a:gd name="connsiteX5" fmla="*/ 0 w 434641"/>
                  <a:gd name="connsiteY5" fmla="*/ 208504 h 208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4641" h="208504">
                    <a:moveTo>
                      <a:pt x="0" y="208504"/>
                    </a:moveTo>
                    <a:lnTo>
                      <a:pt x="434642" y="132871"/>
                    </a:lnTo>
                    <a:cubicBezTo>
                      <a:pt x="434642" y="132871"/>
                      <a:pt x="385173" y="0"/>
                      <a:pt x="367539" y="0"/>
                    </a:cubicBezTo>
                    <a:cubicBezTo>
                      <a:pt x="349858" y="0"/>
                      <a:pt x="38889" y="144880"/>
                      <a:pt x="38889" y="144880"/>
                    </a:cubicBezTo>
                    <a:lnTo>
                      <a:pt x="14107" y="197924"/>
                    </a:lnTo>
                    <a:lnTo>
                      <a:pt x="0" y="208504"/>
                    </a:lnTo>
                    <a:close/>
                  </a:path>
                </a:pathLst>
              </a:custGeom>
              <a:solidFill>
                <a:schemeClr val="accent1">
                  <a:lumMod val="40000"/>
                  <a:lumOff val="60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96" name="Freeform: Shape 95">
                <a:extLst>
                  <a:ext uri="{FF2B5EF4-FFF2-40B4-BE49-F238E27FC236}">
                    <a16:creationId xmlns:a16="http://schemas.microsoft.com/office/drawing/2014/main" id="{05230E30-905F-C7C5-1FE3-F7EC6B2EFA19}"/>
                  </a:ext>
                </a:extLst>
              </p:cNvPr>
              <p:cNvSpPr/>
              <p:nvPr/>
            </p:nvSpPr>
            <p:spPr>
              <a:xfrm>
                <a:off x="2245235" y="4447930"/>
                <a:ext cx="409812" cy="2154622"/>
              </a:xfrm>
              <a:custGeom>
                <a:avLst/>
                <a:gdLst>
                  <a:gd name="connsiteX0" fmla="*/ 74061 w 409812"/>
                  <a:gd name="connsiteY0" fmla="*/ 21208 h 2154622"/>
                  <a:gd name="connsiteX1" fmla="*/ 48373 w 409812"/>
                  <a:gd name="connsiteY1" fmla="*/ 414578 h 2154622"/>
                  <a:gd name="connsiteX2" fmla="*/ 67436 w 409812"/>
                  <a:gd name="connsiteY2" fmla="*/ 1186782 h 2154622"/>
                  <a:gd name="connsiteX3" fmla="*/ 0 w 409812"/>
                  <a:gd name="connsiteY3" fmla="*/ 2150905 h 2154622"/>
                  <a:gd name="connsiteX4" fmla="*/ 159988 w 409812"/>
                  <a:gd name="connsiteY4" fmla="*/ 2154623 h 2154622"/>
                  <a:gd name="connsiteX5" fmla="*/ 346188 w 409812"/>
                  <a:gd name="connsiteY5" fmla="*/ 1215711 h 2154622"/>
                  <a:gd name="connsiteX6" fmla="*/ 409812 w 409812"/>
                  <a:gd name="connsiteY6" fmla="*/ 537202 h 2154622"/>
                  <a:gd name="connsiteX7" fmla="*/ 183627 w 409812"/>
                  <a:gd name="connsiteY7" fmla="*/ 0 h 2154622"/>
                  <a:gd name="connsiteX8" fmla="*/ 74061 w 409812"/>
                  <a:gd name="connsiteY8" fmla="*/ 21208 h 2154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9811" h="2154622">
                    <a:moveTo>
                      <a:pt x="74061" y="21208"/>
                    </a:moveTo>
                    <a:cubicBezTo>
                      <a:pt x="74061" y="21208"/>
                      <a:pt x="30692" y="244915"/>
                      <a:pt x="48373" y="414578"/>
                    </a:cubicBezTo>
                    <a:cubicBezTo>
                      <a:pt x="66054" y="584193"/>
                      <a:pt x="67436" y="1186782"/>
                      <a:pt x="67436" y="1186782"/>
                    </a:cubicBezTo>
                    <a:lnTo>
                      <a:pt x="0" y="2150905"/>
                    </a:lnTo>
                    <a:lnTo>
                      <a:pt x="159988" y="2154623"/>
                    </a:lnTo>
                    <a:cubicBezTo>
                      <a:pt x="159988" y="2154623"/>
                      <a:pt x="349715" y="1190976"/>
                      <a:pt x="346188" y="1215711"/>
                    </a:cubicBezTo>
                    <a:cubicBezTo>
                      <a:pt x="342662" y="1240445"/>
                      <a:pt x="409812" y="537202"/>
                      <a:pt x="409812" y="537202"/>
                    </a:cubicBezTo>
                    <a:lnTo>
                      <a:pt x="183627" y="0"/>
                    </a:lnTo>
                    <a:lnTo>
                      <a:pt x="74061" y="21208"/>
                    </a:lnTo>
                    <a:close/>
                  </a:path>
                </a:pathLst>
              </a:custGeom>
              <a:solidFill>
                <a:schemeClr val="accent1">
                  <a:lumMod val="75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97" name="Freeform: Shape 96">
                <a:extLst>
                  <a:ext uri="{FF2B5EF4-FFF2-40B4-BE49-F238E27FC236}">
                    <a16:creationId xmlns:a16="http://schemas.microsoft.com/office/drawing/2014/main" id="{B4A81F36-E210-B2E7-AB7A-49BEE975726E}"/>
                  </a:ext>
                </a:extLst>
              </p:cNvPr>
              <p:cNvSpPr/>
              <p:nvPr/>
            </p:nvSpPr>
            <p:spPr>
              <a:xfrm>
                <a:off x="2351007" y="4384306"/>
                <a:ext cx="643271" cy="2241788"/>
              </a:xfrm>
              <a:custGeom>
                <a:avLst/>
                <a:gdLst>
                  <a:gd name="connsiteX0" fmla="*/ 10705 w 643271"/>
                  <a:gd name="connsiteY0" fmla="*/ 74204 h 2241788"/>
                  <a:gd name="connsiteX1" fmla="*/ 17759 w 643271"/>
                  <a:gd name="connsiteY1" fmla="*/ 364013 h 2241788"/>
                  <a:gd name="connsiteX2" fmla="*/ 324391 w 643271"/>
                  <a:gd name="connsiteY2" fmla="*/ 1389901 h 2241788"/>
                  <a:gd name="connsiteX3" fmla="*/ 416990 w 643271"/>
                  <a:gd name="connsiteY3" fmla="*/ 2241789 h 2241788"/>
                  <a:gd name="connsiteX4" fmla="*/ 603048 w 643271"/>
                  <a:gd name="connsiteY4" fmla="*/ 2236213 h 2241788"/>
                  <a:gd name="connsiteX5" fmla="*/ 643271 w 643271"/>
                  <a:gd name="connsiteY5" fmla="*/ 1367645 h 2241788"/>
                  <a:gd name="connsiteX6" fmla="*/ 559012 w 643271"/>
                  <a:gd name="connsiteY6" fmla="*/ 275988 h 2241788"/>
                  <a:gd name="connsiteX7" fmla="*/ 477183 w 643271"/>
                  <a:gd name="connsiteY7" fmla="*/ 0 h 2241788"/>
                  <a:gd name="connsiteX8" fmla="*/ 10705 w 643271"/>
                  <a:gd name="connsiteY8" fmla="*/ 74204 h 2241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3271" h="2241788">
                    <a:moveTo>
                      <a:pt x="10705" y="74204"/>
                    </a:moveTo>
                    <a:cubicBezTo>
                      <a:pt x="10705" y="74204"/>
                      <a:pt x="-17556" y="275654"/>
                      <a:pt x="17759" y="364013"/>
                    </a:cubicBezTo>
                    <a:cubicBezTo>
                      <a:pt x="53121" y="452371"/>
                      <a:pt x="320864" y="1319224"/>
                      <a:pt x="324391" y="1389901"/>
                    </a:cubicBezTo>
                    <a:cubicBezTo>
                      <a:pt x="327918" y="1460578"/>
                      <a:pt x="416990" y="2241789"/>
                      <a:pt x="416990" y="2241789"/>
                    </a:cubicBezTo>
                    <a:lnTo>
                      <a:pt x="603048" y="2236213"/>
                    </a:lnTo>
                    <a:lnTo>
                      <a:pt x="643271" y="1367645"/>
                    </a:lnTo>
                    <a:lnTo>
                      <a:pt x="559012" y="275988"/>
                    </a:lnTo>
                    <a:lnTo>
                      <a:pt x="477183" y="0"/>
                    </a:lnTo>
                    <a:lnTo>
                      <a:pt x="10705" y="74204"/>
                    </a:lnTo>
                    <a:close/>
                  </a:path>
                </a:pathLst>
              </a:custGeom>
              <a:solidFill>
                <a:schemeClr val="accent1">
                  <a:lumMod val="75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99" name="Freeform: Shape 98">
                <a:extLst>
                  <a:ext uri="{FF2B5EF4-FFF2-40B4-BE49-F238E27FC236}">
                    <a16:creationId xmlns:a16="http://schemas.microsoft.com/office/drawing/2014/main" id="{EF4B27D6-400B-D5DD-2CA4-E06C9EDEE31F}"/>
                  </a:ext>
                </a:extLst>
              </p:cNvPr>
              <p:cNvSpPr/>
              <p:nvPr/>
            </p:nvSpPr>
            <p:spPr>
              <a:xfrm>
                <a:off x="2745073" y="3771850"/>
                <a:ext cx="297057" cy="304732"/>
              </a:xfrm>
              <a:custGeom>
                <a:avLst/>
                <a:gdLst>
                  <a:gd name="connsiteX0" fmla="*/ 0 w 297057"/>
                  <a:gd name="connsiteY0" fmla="*/ 164184 h 304732"/>
                  <a:gd name="connsiteX1" fmla="*/ 238624 w 297057"/>
                  <a:gd name="connsiteY1" fmla="*/ 301487 h 304732"/>
                  <a:gd name="connsiteX2" fmla="*/ 162467 w 297057"/>
                  <a:gd name="connsiteY2" fmla="*/ 35173 h 304732"/>
                  <a:gd name="connsiteX3" fmla="*/ 0 w 297057"/>
                  <a:gd name="connsiteY3" fmla="*/ 164184 h 304732"/>
                </a:gdLst>
                <a:ahLst/>
                <a:cxnLst>
                  <a:cxn ang="0">
                    <a:pos x="connsiteX0" y="connsiteY0"/>
                  </a:cxn>
                  <a:cxn ang="0">
                    <a:pos x="connsiteX1" y="connsiteY1"/>
                  </a:cxn>
                  <a:cxn ang="0">
                    <a:pos x="connsiteX2" y="connsiteY2"/>
                  </a:cxn>
                  <a:cxn ang="0">
                    <a:pos x="connsiteX3" y="connsiteY3"/>
                  </a:cxn>
                </a:cxnLst>
                <a:rect l="l" t="t" r="r" b="b"/>
                <a:pathLst>
                  <a:path w="297057" h="304732">
                    <a:moveTo>
                      <a:pt x="0" y="164184"/>
                    </a:moveTo>
                    <a:cubicBezTo>
                      <a:pt x="0" y="164184"/>
                      <a:pt x="164420" y="329748"/>
                      <a:pt x="238624" y="301487"/>
                    </a:cubicBezTo>
                    <a:cubicBezTo>
                      <a:pt x="312828" y="273225"/>
                      <a:pt x="343567" y="176575"/>
                      <a:pt x="162467" y="35173"/>
                    </a:cubicBezTo>
                    <a:cubicBezTo>
                      <a:pt x="381" y="-91359"/>
                      <a:pt x="0" y="164184"/>
                      <a:pt x="0" y="164184"/>
                    </a:cubicBezTo>
                    <a:close/>
                  </a:path>
                </a:pathLst>
              </a:custGeom>
              <a:solidFill>
                <a:schemeClr val="bg1"/>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00" name="Freeform: Shape 99">
                <a:extLst>
                  <a:ext uri="{FF2B5EF4-FFF2-40B4-BE49-F238E27FC236}">
                    <a16:creationId xmlns:a16="http://schemas.microsoft.com/office/drawing/2014/main" id="{4D0D0CDC-3EA5-1FD8-F497-66E2A74AF2A9}"/>
                  </a:ext>
                </a:extLst>
              </p:cNvPr>
              <p:cNvSpPr/>
              <p:nvPr/>
            </p:nvSpPr>
            <p:spPr>
              <a:xfrm>
                <a:off x="2102665" y="3438649"/>
                <a:ext cx="810355" cy="1307438"/>
              </a:xfrm>
              <a:custGeom>
                <a:avLst/>
                <a:gdLst>
                  <a:gd name="connsiteX0" fmla="*/ 753785 w 810355"/>
                  <a:gd name="connsiteY0" fmla="*/ 701838 h 1307438"/>
                  <a:gd name="connsiteX1" fmla="*/ 538228 w 810355"/>
                  <a:gd name="connsiteY1" fmla="*/ 37484 h 1307438"/>
                  <a:gd name="connsiteX2" fmla="*/ 344926 w 810355"/>
                  <a:gd name="connsiteY2" fmla="*/ 2217 h 1307438"/>
                  <a:gd name="connsiteX3" fmla="*/ 153436 w 810355"/>
                  <a:gd name="connsiteY3" fmla="*/ 20613 h 1307438"/>
                  <a:gd name="connsiteX4" fmla="*/ 31002 w 810355"/>
                  <a:gd name="connsiteY4" fmla="*/ 72942 h 1307438"/>
                  <a:gd name="connsiteX5" fmla="*/ 37436 w 810355"/>
                  <a:gd name="connsiteY5" fmla="*/ 410266 h 1307438"/>
                  <a:gd name="connsiteX6" fmla="*/ 158583 w 810355"/>
                  <a:gd name="connsiteY6" fmla="*/ 763413 h 1307438"/>
                  <a:gd name="connsiteX7" fmla="*/ 174358 w 810355"/>
                  <a:gd name="connsiteY7" fmla="*/ 882319 h 1307438"/>
                  <a:gd name="connsiteX8" fmla="*/ 174263 w 810355"/>
                  <a:gd name="connsiteY8" fmla="*/ 1274307 h 1307438"/>
                  <a:gd name="connsiteX9" fmla="*/ 810355 w 810355"/>
                  <a:gd name="connsiteY9" fmla="*/ 1221311 h 1307438"/>
                  <a:gd name="connsiteX10" fmla="*/ 753785 w 810355"/>
                  <a:gd name="connsiteY10" fmla="*/ 701838 h 1307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10355" h="1307438">
                    <a:moveTo>
                      <a:pt x="753785" y="701838"/>
                    </a:moveTo>
                    <a:cubicBezTo>
                      <a:pt x="729384" y="560055"/>
                      <a:pt x="552334" y="118741"/>
                      <a:pt x="538228" y="37484"/>
                    </a:cubicBezTo>
                    <a:cubicBezTo>
                      <a:pt x="531365" y="-2024"/>
                      <a:pt x="435858" y="-2930"/>
                      <a:pt x="344926" y="2217"/>
                    </a:cubicBezTo>
                    <a:cubicBezTo>
                      <a:pt x="248848" y="7650"/>
                      <a:pt x="153436" y="20613"/>
                      <a:pt x="153436" y="20613"/>
                    </a:cubicBezTo>
                    <a:cubicBezTo>
                      <a:pt x="153436" y="20613"/>
                      <a:pt x="68414" y="35530"/>
                      <a:pt x="31002" y="72942"/>
                    </a:cubicBezTo>
                    <a:cubicBezTo>
                      <a:pt x="-6409" y="110354"/>
                      <a:pt x="-16370" y="213819"/>
                      <a:pt x="37436" y="410266"/>
                    </a:cubicBezTo>
                    <a:cubicBezTo>
                      <a:pt x="79900" y="565298"/>
                      <a:pt x="132514" y="650463"/>
                      <a:pt x="158583" y="763413"/>
                    </a:cubicBezTo>
                    <a:cubicBezTo>
                      <a:pt x="163873" y="801301"/>
                      <a:pt x="168401" y="838665"/>
                      <a:pt x="174358" y="882319"/>
                    </a:cubicBezTo>
                    <a:cubicBezTo>
                      <a:pt x="183937" y="1051220"/>
                      <a:pt x="174263" y="1274307"/>
                      <a:pt x="174263" y="1274307"/>
                    </a:cubicBezTo>
                    <a:cubicBezTo>
                      <a:pt x="174263" y="1274307"/>
                      <a:pt x="637214" y="1376772"/>
                      <a:pt x="810355" y="1221311"/>
                    </a:cubicBezTo>
                    <a:cubicBezTo>
                      <a:pt x="810308" y="1221311"/>
                      <a:pt x="778806" y="847100"/>
                      <a:pt x="753785" y="701838"/>
                    </a:cubicBezTo>
                    <a:close/>
                  </a:path>
                </a:pathLst>
              </a:custGeom>
              <a:solidFill>
                <a:schemeClr val="accent1">
                  <a:lumMod val="60000"/>
                  <a:lumOff val="40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01" name="Freeform: Shape 100">
                <a:extLst>
                  <a:ext uri="{FF2B5EF4-FFF2-40B4-BE49-F238E27FC236}">
                    <a16:creationId xmlns:a16="http://schemas.microsoft.com/office/drawing/2014/main" id="{BB20FBCA-68F4-53D7-34F5-C60B6CDAA671}"/>
                  </a:ext>
                </a:extLst>
              </p:cNvPr>
              <p:cNvSpPr/>
              <p:nvPr/>
            </p:nvSpPr>
            <p:spPr>
              <a:xfrm>
                <a:off x="2456520" y="3444297"/>
                <a:ext cx="517979" cy="551309"/>
              </a:xfrm>
              <a:custGeom>
                <a:avLst/>
                <a:gdLst>
                  <a:gd name="connsiteX0" fmla="*/ 517980 w 517979"/>
                  <a:gd name="connsiteY0" fmla="*/ 391274 h 551309"/>
                  <a:gd name="connsiteX1" fmla="*/ 325727 w 517979"/>
                  <a:gd name="connsiteY1" fmla="*/ 551310 h 551309"/>
                  <a:gd name="connsiteX2" fmla="*/ 8229 w 517979"/>
                  <a:gd name="connsiteY2" fmla="*/ 190347 h 551309"/>
                  <a:gd name="connsiteX3" fmla="*/ 120749 w 517979"/>
                  <a:gd name="connsiteY3" fmla="*/ 1 h 551309"/>
                  <a:gd name="connsiteX4" fmla="*/ 304042 w 517979"/>
                  <a:gd name="connsiteY4" fmla="*/ 110377 h 551309"/>
                  <a:gd name="connsiteX5" fmla="*/ 517980 w 517979"/>
                  <a:gd name="connsiteY5" fmla="*/ 391274 h 551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7979" h="551309">
                    <a:moveTo>
                      <a:pt x="517980" y="391274"/>
                    </a:moveTo>
                    <a:cubicBezTo>
                      <a:pt x="517980" y="391274"/>
                      <a:pt x="336307" y="551310"/>
                      <a:pt x="325727" y="551310"/>
                    </a:cubicBezTo>
                    <a:cubicBezTo>
                      <a:pt x="318912" y="551310"/>
                      <a:pt x="66515" y="353147"/>
                      <a:pt x="8229" y="190347"/>
                    </a:cubicBezTo>
                    <a:cubicBezTo>
                      <a:pt x="-23988" y="100369"/>
                      <a:pt x="43591" y="-333"/>
                      <a:pt x="120749" y="1"/>
                    </a:cubicBezTo>
                    <a:cubicBezTo>
                      <a:pt x="174222" y="239"/>
                      <a:pt x="198003" y="14918"/>
                      <a:pt x="304042" y="110377"/>
                    </a:cubicBezTo>
                    <a:cubicBezTo>
                      <a:pt x="410034" y="205788"/>
                      <a:pt x="517980" y="391274"/>
                      <a:pt x="517980" y="391274"/>
                    </a:cubicBezTo>
                    <a:close/>
                  </a:path>
                </a:pathLst>
              </a:custGeom>
              <a:solidFill>
                <a:schemeClr val="accent1">
                  <a:lumMod val="75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grpSp>
        <p:grpSp>
          <p:nvGrpSpPr>
            <p:cNvPr id="102" name="Graphic 2">
              <a:extLst>
                <a:ext uri="{FF2B5EF4-FFF2-40B4-BE49-F238E27FC236}">
                  <a16:creationId xmlns:a16="http://schemas.microsoft.com/office/drawing/2014/main" id="{933ED5FA-05D5-AC20-DD40-0C27691F30F1}"/>
                </a:ext>
              </a:extLst>
            </p:cNvPr>
            <p:cNvGrpSpPr/>
            <p:nvPr/>
          </p:nvGrpSpPr>
          <p:grpSpPr>
            <a:xfrm>
              <a:off x="4674890" y="1236867"/>
              <a:ext cx="596439" cy="596439"/>
              <a:chOff x="4952669" y="109209"/>
              <a:chExt cx="835158" cy="835158"/>
            </a:xfrm>
          </p:grpSpPr>
          <p:sp>
            <p:nvSpPr>
              <p:cNvPr id="103" name="Freeform: Shape 102">
                <a:extLst>
                  <a:ext uri="{FF2B5EF4-FFF2-40B4-BE49-F238E27FC236}">
                    <a16:creationId xmlns:a16="http://schemas.microsoft.com/office/drawing/2014/main" id="{1C83A455-CFF9-941B-589C-97A5ACF3CA35}"/>
                  </a:ext>
                </a:extLst>
              </p:cNvPr>
              <p:cNvSpPr/>
              <p:nvPr/>
            </p:nvSpPr>
            <p:spPr>
              <a:xfrm>
                <a:off x="4952669" y="109209"/>
                <a:ext cx="835158" cy="835158"/>
              </a:xfrm>
              <a:custGeom>
                <a:avLst/>
                <a:gdLst>
                  <a:gd name="connsiteX0" fmla="*/ 796723 w 835158"/>
                  <a:gd name="connsiteY0" fmla="*/ 553667 h 835158"/>
                  <a:gd name="connsiteX1" fmla="*/ 402877 w 835158"/>
                  <a:gd name="connsiteY1" fmla="*/ 820123 h 835158"/>
                  <a:gd name="connsiteX2" fmla="*/ 281491 w 835158"/>
                  <a:gd name="connsiteY2" fmla="*/ 796723 h 835158"/>
                  <a:gd name="connsiteX3" fmla="*/ 15035 w 835158"/>
                  <a:gd name="connsiteY3" fmla="*/ 402877 h 835158"/>
                  <a:gd name="connsiteX4" fmla="*/ 38435 w 835158"/>
                  <a:gd name="connsiteY4" fmla="*/ 281491 h 835158"/>
                  <a:gd name="connsiteX5" fmla="*/ 432281 w 835158"/>
                  <a:gd name="connsiteY5" fmla="*/ 15035 h 835158"/>
                  <a:gd name="connsiteX6" fmla="*/ 553667 w 835158"/>
                  <a:gd name="connsiteY6" fmla="*/ 38435 h 835158"/>
                  <a:gd name="connsiteX7" fmla="*/ 820123 w 835158"/>
                  <a:gd name="connsiteY7" fmla="*/ 432282 h 835158"/>
                  <a:gd name="connsiteX8" fmla="*/ 796723 w 835158"/>
                  <a:gd name="connsiteY8" fmla="*/ 553667 h 835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5158" h="835158">
                    <a:moveTo>
                      <a:pt x="796723" y="553667"/>
                    </a:moveTo>
                    <a:lnTo>
                      <a:pt x="402877" y="820123"/>
                    </a:lnTo>
                    <a:cubicBezTo>
                      <a:pt x="362892" y="847193"/>
                      <a:pt x="308561" y="836708"/>
                      <a:pt x="281491" y="796723"/>
                    </a:cubicBezTo>
                    <a:lnTo>
                      <a:pt x="15035" y="402877"/>
                    </a:lnTo>
                    <a:cubicBezTo>
                      <a:pt x="-12035" y="362891"/>
                      <a:pt x="-1550" y="308561"/>
                      <a:pt x="38435" y="281491"/>
                    </a:cubicBezTo>
                    <a:lnTo>
                      <a:pt x="432281" y="15035"/>
                    </a:lnTo>
                    <a:cubicBezTo>
                      <a:pt x="472267" y="-12035"/>
                      <a:pt x="526597" y="-1550"/>
                      <a:pt x="553667" y="38435"/>
                    </a:cubicBezTo>
                    <a:lnTo>
                      <a:pt x="820123" y="432282"/>
                    </a:lnTo>
                    <a:cubicBezTo>
                      <a:pt x="847193" y="472267"/>
                      <a:pt x="836708" y="526597"/>
                      <a:pt x="796723" y="553667"/>
                    </a:cubicBezTo>
                    <a:close/>
                  </a:path>
                </a:pathLst>
              </a:custGeom>
              <a:solidFill>
                <a:schemeClr val="accent1">
                  <a:lumMod val="75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04" name="Freeform: Shape 103">
                <a:extLst>
                  <a:ext uri="{FF2B5EF4-FFF2-40B4-BE49-F238E27FC236}">
                    <a16:creationId xmlns:a16="http://schemas.microsoft.com/office/drawing/2014/main" id="{598B79D0-942F-CCD3-A65C-A51752B20D2B}"/>
                  </a:ext>
                </a:extLst>
              </p:cNvPr>
              <p:cNvSpPr/>
              <p:nvPr/>
            </p:nvSpPr>
            <p:spPr>
              <a:xfrm>
                <a:off x="5143923" y="285546"/>
                <a:ext cx="445739" cy="445739"/>
              </a:xfrm>
              <a:custGeom>
                <a:avLst/>
                <a:gdLst>
                  <a:gd name="connsiteX0" fmla="*/ 407449 w 445739"/>
                  <a:gd name="connsiteY0" fmla="*/ 98005 h 445739"/>
                  <a:gd name="connsiteX1" fmla="*/ 347734 w 445739"/>
                  <a:gd name="connsiteY1" fmla="*/ 407449 h 445739"/>
                  <a:gd name="connsiteX2" fmla="*/ 38290 w 445739"/>
                  <a:gd name="connsiteY2" fmla="*/ 347734 h 445739"/>
                  <a:gd name="connsiteX3" fmla="*/ 98005 w 445739"/>
                  <a:gd name="connsiteY3" fmla="*/ 38290 h 445739"/>
                  <a:gd name="connsiteX4" fmla="*/ 407449 w 445739"/>
                  <a:gd name="connsiteY4" fmla="*/ 98005 h 4457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5739" h="445739">
                    <a:moveTo>
                      <a:pt x="407449" y="98005"/>
                    </a:moveTo>
                    <a:cubicBezTo>
                      <a:pt x="476411" y="199946"/>
                      <a:pt x="449674" y="338488"/>
                      <a:pt x="347734" y="407449"/>
                    </a:cubicBezTo>
                    <a:cubicBezTo>
                      <a:pt x="245793" y="476411"/>
                      <a:pt x="107251" y="449675"/>
                      <a:pt x="38290" y="347734"/>
                    </a:cubicBezTo>
                    <a:cubicBezTo>
                      <a:pt x="-30672" y="245793"/>
                      <a:pt x="-3935" y="107251"/>
                      <a:pt x="98005" y="38290"/>
                    </a:cubicBezTo>
                    <a:cubicBezTo>
                      <a:pt x="199946" y="-30671"/>
                      <a:pt x="338488" y="-3935"/>
                      <a:pt x="407449" y="98005"/>
                    </a:cubicBezTo>
                    <a:close/>
                  </a:path>
                </a:pathLst>
              </a:custGeom>
              <a:solidFill>
                <a:schemeClr val="bg1"/>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05" name="Freeform: Shape 104">
                <a:extLst>
                  <a:ext uri="{FF2B5EF4-FFF2-40B4-BE49-F238E27FC236}">
                    <a16:creationId xmlns:a16="http://schemas.microsoft.com/office/drawing/2014/main" id="{7AE33338-A1B2-C681-0C4F-9907590232D1}"/>
                  </a:ext>
                </a:extLst>
              </p:cNvPr>
              <p:cNvSpPr/>
              <p:nvPr/>
            </p:nvSpPr>
            <p:spPr>
              <a:xfrm>
                <a:off x="5293400" y="416865"/>
                <a:ext cx="96113" cy="129778"/>
              </a:xfrm>
              <a:custGeom>
                <a:avLst/>
                <a:gdLst>
                  <a:gd name="connsiteX0" fmla="*/ 0 w 96113"/>
                  <a:gd name="connsiteY0" fmla="*/ 0 h 129778"/>
                  <a:gd name="connsiteX1" fmla="*/ 91408 w 96113"/>
                  <a:gd name="connsiteY1" fmla="*/ 99701 h 129778"/>
                  <a:gd name="connsiteX2" fmla="*/ 90312 w 96113"/>
                  <a:gd name="connsiteY2" fmla="*/ 125055 h 129778"/>
                  <a:gd name="connsiteX3" fmla="*/ 64958 w 96113"/>
                  <a:gd name="connsiteY3" fmla="*/ 123959 h 129778"/>
                  <a:gd name="connsiteX4" fmla="*/ 62242 w 96113"/>
                  <a:gd name="connsiteY4" fmla="*/ 120098 h 129778"/>
                  <a:gd name="connsiteX5" fmla="*/ 0 w 96113"/>
                  <a:gd name="connsiteY5" fmla="*/ 0 h 129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6113" h="129778">
                    <a:moveTo>
                      <a:pt x="0" y="0"/>
                    </a:moveTo>
                    <a:lnTo>
                      <a:pt x="91408" y="99701"/>
                    </a:lnTo>
                    <a:cubicBezTo>
                      <a:pt x="98080" y="106992"/>
                      <a:pt x="97604" y="118335"/>
                      <a:pt x="90312" y="125055"/>
                    </a:cubicBezTo>
                    <a:cubicBezTo>
                      <a:pt x="83021" y="131775"/>
                      <a:pt x="71678" y="131250"/>
                      <a:pt x="64958" y="123959"/>
                    </a:cubicBezTo>
                    <a:cubicBezTo>
                      <a:pt x="63862" y="122767"/>
                      <a:pt x="62956" y="121433"/>
                      <a:pt x="62242" y="120098"/>
                    </a:cubicBezTo>
                    <a:lnTo>
                      <a:pt x="0" y="0"/>
                    </a:lnTo>
                    <a:close/>
                  </a:path>
                </a:pathLst>
              </a:custGeom>
              <a:solidFill>
                <a:schemeClr val="accent1">
                  <a:lumMod val="75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06" name="Freeform: Shape 105">
                <a:extLst>
                  <a:ext uri="{FF2B5EF4-FFF2-40B4-BE49-F238E27FC236}">
                    <a16:creationId xmlns:a16="http://schemas.microsoft.com/office/drawing/2014/main" id="{3F41379A-3977-B1B6-9714-9E8F9907E960}"/>
                  </a:ext>
                </a:extLst>
              </p:cNvPr>
              <p:cNvSpPr/>
              <p:nvPr/>
            </p:nvSpPr>
            <p:spPr>
              <a:xfrm>
                <a:off x="5355145" y="440122"/>
                <a:ext cx="145806" cy="106201"/>
              </a:xfrm>
              <a:custGeom>
                <a:avLst/>
                <a:gdLst>
                  <a:gd name="connsiteX0" fmla="*/ 7883 w 145806"/>
                  <a:gd name="connsiteY0" fmla="*/ 77206 h 106201"/>
                  <a:gd name="connsiteX1" fmla="*/ 145806 w 145806"/>
                  <a:gd name="connsiteY1" fmla="*/ 0 h 106201"/>
                  <a:gd name="connsiteX2" fmla="*/ 25517 w 145806"/>
                  <a:gd name="connsiteY2" fmla="*/ 102513 h 106201"/>
                  <a:gd name="connsiteX3" fmla="*/ 3689 w 145806"/>
                  <a:gd name="connsiteY3" fmla="*/ 100749 h 106201"/>
                  <a:gd name="connsiteX4" fmla="*/ 5453 w 145806"/>
                  <a:gd name="connsiteY4" fmla="*/ 78922 h 106201"/>
                  <a:gd name="connsiteX5" fmla="*/ 7883 w 145806"/>
                  <a:gd name="connsiteY5" fmla="*/ 77206 h 106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5806" h="106201">
                    <a:moveTo>
                      <a:pt x="7883" y="77206"/>
                    </a:moveTo>
                    <a:lnTo>
                      <a:pt x="145806" y="0"/>
                    </a:lnTo>
                    <a:lnTo>
                      <a:pt x="25517" y="102513"/>
                    </a:lnTo>
                    <a:cubicBezTo>
                      <a:pt x="18988" y="108041"/>
                      <a:pt x="9218" y="107278"/>
                      <a:pt x="3689" y="100749"/>
                    </a:cubicBezTo>
                    <a:cubicBezTo>
                      <a:pt x="-1839" y="94220"/>
                      <a:pt x="-1076" y="84450"/>
                      <a:pt x="5453" y="78922"/>
                    </a:cubicBezTo>
                    <a:cubicBezTo>
                      <a:pt x="6120" y="78302"/>
                      <a:pt x="7026" y="77683"/>
                      <a:pt x="7883" y="77206"/>
                    </a:cubicBezTo>
                    <a:close/>
                  </a:path>
                </a:pathLst>
              </a:custGeom>
              <a:solidFill>
                <a:schemeClr val="accent1">
                  <a:lumMod val="75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grpSp>
        <p:sp>
          <p:nvSpPr>
            <p:cNvPr id="107" name="Freeform: Shape 106">
              <a:extLst>
                <a:ext uri="{FF2B5EF4-FFF2-40B4-BE49-F238E27FC236}">
                  <a16:creationId xmlns:a16="http://schemas.microsoft.com/office/drawing/2014/main" id="{1DF8310A-DEAA-03CE-7389-F92E4488A448}"/>
                </a:ext>
              </a:extLst>
            </p:cNvPr>
            <p:cNvSpPr/>
            <p:nvPr/>
          </p:nvSpPr>
          <p:spPr>
            <a:xfrm>
              <a:off x="1715641" y="2683195"/>
              <a:ext cx="941460" cy="489739"/>
            </a:xfrm>
            <a:custGeom>
              <a:avLst/>
              <a:gdLst>
                <a:gd name="connsiteX0" fmla="*/ 1058010 w 1318270"/>
                <a:gd name="connsiteY0" fmla="*/ 685752 h 685752"/>
                <a:gd name="connsiteX1" fmla="*/ 260261 w 1318270"/>
                <a:gd name="connsiteY1" fmla="*/ 685752 h 685752"/>
                <a:gd name="connsiteX2" fmla="*/ 0 w 1318270"/>
                <a:gd name="connsiteY2" fmla="*/ 425492 h 685752"/>
                <a:gd name="connsiteX3" fmla="*/ 0 w 1318270"/>
                <a:gd name="connsiteY3" fmla="*/ 260261 h 685752"/>
                <a:gd name="connsiteX4" fmla="*/ 260261 w 1318270"/>
                <a:gd name="connsiteY4" fmla="*/ 0 h 685752"/>
                <a:gd name="connsiteX5" fmla="*/ 1058010 w 1318270"/>
                <a:gd name="connsiteY5" fmla="*/ 0 h 685752"/>
                <a:gd name="connsiteX6" fmla="*/ 1318271 w 1318270"/>
                <a:gd name="connsiteY6" fmla="*/ 260261 h 685752"/>
                <a:gd name="connsiteX7" fmla="*/ 1318271 w 1318270"/>
                <a:gd name="connsiteY7" fmla="*/ 425492 h 685752"/>
                <a:gd name="connsiteX8" fmla="*/ 1058010 w 1318270"/>
                <a:gd name="connsiteY8" fmla="*/ 685752 h 685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8270" h="685752">
                  <a:moveTo>
                    <a:pt x="1058010" y="685752"/>
                  </a:moveTo>
                  <a:lnTo>
                    <a:pt x="260261" y="685752"/>
                  </a:lnTo>
                  <a:cubicBezTo>
                    <a:pt x="116524" y="685752"/>
                    <a:pt x="0" y="569228"/>
                    <a:pt x="0" y="425492"/>
                  </a:cubicBezTo>
                  <a:lnTo>
                    <a:pt x="0" y="260261"/>
                  </a:lnTo>
                  <a:cubicBezTo>
                    <a:pt x="0" y="116524"/>
                    <a:pt x="116524" y="0"/>
                    <a:pt x="260261" y="0"/>
                  </a:cubicBezTo>
                  <a:lnTo>
                    <a:pt x="1058010" y="0"/>
                  </a:lnTo>
                  <a:cubicBezTo>
                    <a:pt x="1201747" y="0"/>
                    <a:pt x="1318271" y="116524"/>
                    <a:pt x="1318271" y="260261"/>
                  </a:cubicBezTo>
                  <a:lnTo>
                    <a:pt x="1318271" y="425492"/>
                  </a:lnTo>
                  <a:cubicBezTo>
                    <a:pt x="1318318" y="569228"/>
                    <a:pt x="1201794" y="685752"/>
                    <a:pt x="1058010" y="685752"/>
                  </a:cubicBezTo>
                  <a:close/>
                </a:path>
              </a:pathLst>
            </a:custGeom>
            <a:solidFill>
              <a:schemeClr val="accent1"/>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08" name="Freeform: Shape 107">
              <a:extLst>
                <a:ext uri="{FF2B5EF4-FFF2-40B4-BE49-F238E27FC236}">
                  <a16:creationId xmlns:a16="http://schemas.microsoft.com/office/drawing/2014/main" id="{B21949B6-AF9B-EF98-B8F1-9A78A10122A8}"/>
                </a:ext>
              </a:extLst>
            </p:cNvPr>
            <p:cNvSpPr/>
            <p:nvPr/>
          </p:nvSpPr>
          <p:spPr>
            <a:xfrm>
              <a:off x="2545396" y="2874679"/>
              <a:ext cx="231885" cy="217283"/>
            </a:xfrm>
            <a:custGeom>
              <a:avLst/>
              <a:gdLst>
                <a:gd name="connsiteX0" fmla="*/ 0 w 324694"/>
                <a:gd name="connsiteY0" fmla="*/ 158749 h 304249"/>
                <a:gd name="connsiteX1" fmla="*/ 324695 w 324694"/>
                <a:gd name="connsiteY1" fmla="*/ 304249 h 304249"/>
                <a:gd name="connsiteX2" fmla="*/ 107326 w 324694"/>
                <a:gd name="connsiteY2" fmla="*/ 0 h 304249"/>
              </a:gdLst>
              <a:ahLst/>
              <a:cxnLst>
                <a:cxn ang="0">
                  <a:pos x="connsiteX0" y="connsiteY0"/>
                </a:cxn>
                <a:cxn ang="0">
                  <a:pos x="connsiteX1" y="connsiteY1"/>
                </a:cxn>
                <a:cxn ang="0">
                  <a:pos x="connsiteX2" y="connsiteY2"/>
                </a:cxn>
              </a:cxnLst>
              <a:rect l="l" t="t" r="r" b="b"/>
              <a:pathLst>
                <a:path w="324694" h="304249">
                  <a:moveTo>
                    <a:pt x="0" y="158749"/>
                  </a:moveTo>
                  <a:lnTo>
                    <a:pt x="324695" y="304249"/>
                  </a:lnTo>
                  <a:lnTo>
                    <a:pt x="107326" y="0"/>
                  </a:lnTo>
                  <a:close/>
                </a:path>
              </a:pathLst>
            </a:custGeom>
            <a:solidFill>
              <a:schemeClr val="accent1"/>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grpSp>
          <p:nvGrpSpPr>
            <p:cNvPr id="109" name="Graphic 2">
              <a:extLst>
                <a:ext uri="{FF2B5EF4-FFF2-40B4-BE49-F238E27FC236}">
                  <a16:creationId xmlns:a16="http://schemas.microsoft.com/office/drawing/2014/main" id="{9C289A8F-5B1E-0CF7-D884-6210A6C3458C}"/>
                </a:ext>
              </a:extLst>
            </p:cNvPr>
            <p:cNvGrpSpPr/>
            <p:nvPr/>
          </p:nvGrpSpPr>
          <p:grpSpPr>
            <a:xfrm>
              <a:off x="1947900" y="2876109"/>
              <a:ext cx="459141" cy="72223"/>
              <a:chOff x="1134230" y="2404541"/>
              <a:chExt cx="642907" cy="101130"/>
            </a:xfrm>
            <a:solidFill>
              <a:schemeClr val="bg1"/>
            </a:solidFill>
          </p:grpSpPr>
          <p:sp>
            <p:nvSpPr>
              <p:cNvPr id="110" name="Freeform: Shape 109">
                <a:extLst>
                  <a:ext uri="{FF2B5EF4-FFF2-40B4-BE49-F238E27FC236}">
                    <a16:creationId xmlns:a16="http://schemas.microsoft.com/office/drawing/2014/main" id="{C4AE9250-161E-D2A2-4E4A-52BA918C9F9B}"/>
                  </a:ext>
                </a:extLst>
              </p:cNvPr>
              <p:cNvSpPr/>
              <p:nvPr/>
            </p:nvSpPr>
            <p:spPr>
              <a:xfrm>
                <a:off x="1134230" y="2404541"/>
                <a:ext cx="113712" cy="101130"/>
              </a:xfrm>
              <a:custGeom>
                <a:avLst/>
                <a:gdLst>
                  <a:gd name="connsiteX0" fmla="*/ 113712 w 113712"/>
                  <a:gd name="connsiteY0" fmla="*/ 50565 h 101130"/>
                  <a:gd name="connsiteX1" fmla="*/ 56856 w 113712"/>
                  <a:gd name="connsiteY1" fmla="*/ 101130 h 101130"/>
                  <a:gd name="connsiteX2" fmla="*/ 0 w 113712"/>
                  <a:gd name="connsiteY2" fmla="*/ 50565 h 101130"/>
                  <a:gd name="connsiteX3" fmla="*/ 56856 w 113712"/>
                  <a:gd name="connsiteY3" fmla="*/ 0 h 101130"/>
                  <a:gd name="connsiteX4" fmla="*/ 113712 w 113712"/>
                  <a:gd name="connsiteY4" fmla="*/ 50565 h 101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12" h="101130">
                    <a:moveTo>
                      <a:pt x="113712" y="50565"/>
                    </a:moveTo>
                    <a:cubicBezTo>
                      <a:pt x="113712" y="78493"/>
                      <a:pt x="88263" y="101130"/>
                      <a:pt x="56856" y="101130"/>
                    </a:cubicBezTo>
                    <a:cubicBezTo>
                      <a:pt x="25449" y="101130"/>
                      <a:pt x="0" y="78493"/>
                      <a:pt x="0" y="50565"/>
                    </a:cubicBezTo>
                    <a:cubicBezTo>
                      <a:pt x="0" y="22638"/>
                      <a:pt x="25449" y="0"/>
                      <a:pt x="56856" y="0"/>
                    </a:cubicBezTo>
                    <a:cubicBezTo>
                      <a:pt x="88263" y="0"/>
                      <a:pt x="113712" y="22638"/>
                      <a:pt x="113712" y="50565"/>
                    </a:cubicBezTo>
                    <a:close/>
                  </a:path>
                </a:pathLst>
              </a:custGeom>
              <a:grp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11" name="Freeform: Shape 110">
                <a:extLst>
                  <a:ext uri="{FF2B5EF4-FFF2-40B4-BE49-F238E27FC236}">
                    <a16:creationId xmlns:a16="http://schemas.microsoft.com/office/drawing/2014/main" id="{AC787449-1A45-EB50-0369-C674CF9EC8D8}"/>
                  </a:ext>
                </a:extLst>
              </p:cNvPr>
              <p:cNvSpPr/>
              <p:nvPr/>
            </p:nvSpPr>
            <p:spPr>
              <a:xfrm>
                <a:off x="1398828" y="2404541"/>
                <a:ext cx="113712" cy="101130"/>
              </a:xfrm>
              <a:custGeom>
                <a:avLst/>
                <a:gdLst>
                  <a:gd name="connsiteX0" fmla="*/ 113712 w 113712"/>
                  <a:gd name="connsiteY0" fmla="*/ 50565 h 101130"/>
                  <a:gd name="connsiteX1" fmla="*/ 56856 w 113712"/>
                  <a:gd name="connsiteY1" fmla="*/ 101130 h 101130"/>
                  <a:gd name="connsiteX2" fmla="*/ 0 w 113712"/>
                  <a:gd name="connsiteY2" fmla="*/ 50565 h 101130"/>
                  <a:gd name="connsiteX3" fmla="*/ 56856 w 113712"/>
                  <a:gd name="connsiteY3" fmla="*/ 0 h 101130"/>
                  <a:gd name="connsiteX4" fmla="*/ 113712 w 113712"/>
                  <a:gd name="connsiteY4" fmla="*/ 50565 h 101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12" h="101130">
                    <a:moveTo>
                      <a:pt x="113712" y="50565"/>
                    </a:moveTo>
                    <a:cubicBezTo>
                      <a:pt x="113712" y="78493"/>
                      <a:pt x="88263" y="101130"/>
                      <a:pt x="56856" y="101130"/>
                    </a:cubicBezTo>
                    <a:cubicBezTo>
                      <a:pt x="25449" y="101130"/>
                      <a:pt x="0" y="78493"/>
                      <a:pt x="0" y="50565"/>
                    </a:cubicBezTo>
                    <a:cubicBezTo>
                      <a:pt x="0" y="22638"/>
                      <a:pt x="25449" y="0"/>
                      <a:pt x="56856" y="0"/>
                    </a:cubicBezTo>
                    <a:cubicBezTo>
                      <a:pt x="88263" y="0"/>
                      <a:pt x="113712" y="22638"/>
                      <a:pt x="113712" y="50565"/>
                    </a:cubicBezTo>
                    <a:close/>
                  </a:path>
                </a:pathLst>
              </a:custGeom>
              <a:grp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12" name="Freeform: Shape 111">
                <a:extLst>
                  <a:ext uri="{FF2B5EF4-FFF2-40B4-BE49-F238E27FC236}">
                    <a16:creationId xmlns:a16="http://schemas.microsoft.com/office/drawing/2014/main" id="{862F37FA-6917-B5CF-5C0D-107C583F3C20}"/>
                  </a:ext>
                </a:extLst>
              </p:cNvPr>
              <p:cNvSpPr/>
              <p:nvPr/>
            </p:nvSpPr>
            <p:spPr>
              <a:xfrm>
                <a:off x="1663425" y="2404541"/>
                <a:ext cx="113712" cy="101130"/>
              </a:xfrm>
              <a:custGeom>
                <a:avLst/>
                <a:gdLst>
                  <a:gd name="connsiteX0" fmla="*/ 113712 w 113712"/>
                  <a:gd name="connsiteY0" fmla="*/ 50565 h 101130"/>
                  <a:gd name="connsiteX1" fmla="*/ 56856 w 113712"/>
                  <a:gd name="connsiteY1" fmla="*/ 101130 h 101130"/>
                  <a:gd name="connsiteX2" fmla="*/ 0 w 113712"/>
                  <a:gd name="connsiteY2" fmla="*/ 50565 h 101130"/>
                  <a:gd name="connsiteX3" fmla="*/ 56856 w 113712"/>
                  <a:gd name="connsiteY3" fmla="*/ 0 h 101130"/>
                  <a:gd name="connsiteX4" fmla="*/ 113712 w 113712"/>
                  <a:gd name="connsiteY4" fmla="*/ 50565 h 1011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712" h="101130">
                    <a:moveTo>
                      <a:pt x="113712" y="50565"/>
                    </a:moveTo>
                    <a:cubicBezTo>
                      <a:pt x="113712" y="78493"/>
                      <a:pt x="88263" y="101130"/>
                      <a:pt x="56856" y="101130"/>
                    </a:cubicBezTo>
                    <a:cubicBezTo>
                      <a:pt x="25449" y="101130"/>
                      <a:pt x="0" y="78493"/>
                      <a:pt x="0" y="50565"/>
                    </a:cubicBezTo>
                    <a:cubicBezTo>
                      <a:pt x="0" y="22638"/>
                      <a:pt x="25449" y="0"/>
                      <a:pt x="56856" y="0"/>
                    </a:cubicBezTo>
                    <a:cubicBezTo>
                      <a:pt x="88263" y="0"/>
                      <a:pt x="113712" y="22638"/>
                      <a:pt x="113712" y="50565"/>
                    </a:cubicBezTo>
                    <a:close/>
                  </a:path>
                </a:pathLst>
              </a:custGeom>
              <a:grp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grpSp>
        <p:sp>
          <p:nvSpPr>
            <p:cNvPr id="113" name="Freeform: Shape 112">
              <a:extLst>
                <a:ext uri="{FF2B5EF4-FFF2-40B4-BE49-F238E27FC236}">
                  <a16:creationId xmlns:a16="http://schemas.microsoft.com/office/drawing/2014/main" id="{06815D91-CD16-0E5A-5D72-CCAFA43D68FD}"/>
                </a:ext>
              </a:extLst>
            </p:cNvPr>
            <p:cNvSpPr/>
            <p:nvPr/>
          </p:nvSpPr>
          <p:spPr>
            <a:xfrm>
              <a:off x="4557245" y="1158874"/>
              <a:ext cx="124468" cy="96355"/>
            </a:xfrm>
            <a:custGeom>
              <a:avLst/>
              <a:gdLst>
                <a:gd name="connsiteX0" fmla="*/ 53520 w 174285"/>
                <a:gd name="connsiteY0" fmla="*/ 134920 h 134920"/>
                <a:gd name="connsiteX1" fmla="*/ 0 w 174285"/>
                <a:gd name="connsiteY1" fmla="*/ 20874 h 134920"/>
                <a:gd name="connsiteX2" fmla="*/ 44417 w 174285"/>
                <a:gd name="connsiteY2" fmla="*/ 0 h 134920"/>
                <a:gd name="connsiteX3" fmla="*/ 74776 w 174285"/>
                <a:gd name="connsiteY3" fmla="*/ 64672 h 134920"/>
                <a:gd name="connsiteX4" fmla="*/ 148884 w 174285"/>
                <a:gd name="connsiteY4" fmla="*/ 19826 h 134920"/>
                <a:gd name="connsiteX5" fmla="*/ 174286 w 174285"/>
                <a:gd name="connsiteY5" fmla="*/ 61860 h 134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285" h="134920">
                  <a:moveTo>
                    <a:pt x="53520" y="134920"/>
                  </a:moveTo>
                  <a:lnTo>
                    <a:pt x="0" y="20874"/>
                  </a:lnTo>
                  <a:lnTo>
                    <a:pt x="44417" y="0"/>
                  </a:lnTo>
                  <a:lnTo>
                    <a:pt x="74776" y="64672"/>
                  </a:lnTo>
                  <a:lnTo>
                    <a:pt x="148884" y="19826"/>
                  </a:lnTo>
                  <a:lnTo>
                    <a:pt x="174286" y="61860"/>
                  </a:lnTo>
                  <a:close/>
                </a:path>
              </a:pathLst>
            </a:custGeom>
            <a:solidFill>
              <a:schemeClr val="accent1">
                <a:lumMod val="75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14" name="Freeform: Shape 113">
              <a:extLst>
                <a:ext uri="{FF2B5EF4-FFF2-40B4-BE49-F238E27FC236}">
                  <a16:creationId xmlns:a16="http://schemas.microsoft.com/office/drawing/2014/main" id="{B72C918F-B8F6-0568-BAFC-6E493D0A9E89}"/>
                </a:ext>
              </a:extLst>
            </p:cNvPr>
            <p:cNvSpPr/>
            <p:nvPr/>
          </p:nvSpPr>
          <p:spPr>
            <a:xfrm>
              <a:off x="2335839" y="2336304"/>
              <a:ext cx="96525" cy="121099"/>
            </a:xfrm>
            <a:custGeom>
              <a:avLst/>
              <a:gdLst>
                <a:gd name="connsiteX0" fmla="*/ 135158 w 135158"/>
                <a:gd name="connsiteY0" fmla="*/ 127247 h 169567"/>
                <a:gd name="connsiteX1" fmla="*/ 16490 w 135158"/>
                <a:gd name="connsiteY1" fmla="*/ 169567 h 169567"/>
                <a:gd name="connsiteX2" fmla="*/ 0 w 135158"/>
                <a:gd name="connsiteY2" fmla="*/ 123339 h 169567"/>
                <a:gd name="connsiteX3" fmla="*/ 67246 w 135158"/>
                <a:gd name="connsiteY3" fmla="*/ 99319 h 169567"/>
                <a:gd name="connsiteX4" fmla="*/ 29739 w 135158"/>
                <a:gd name="connsiteY4" fmla="*/ 21255 h 169567"/>
                <a:gd name="connsiteX5" fmla="*/ 74013 w 135158"/>
                <a:gd name="connsiteY5" fmla="*/ 0 h 169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5158" h="169567">
                  <a:moveTo>
                    <a:pt x="135158" y="127247"/>
                  </a:moveTo>
                  <a:lnTo>
                    <a:pt x="16490" y="169567"/>
                  </a:lnTo>
                  <a:lnTo>
                    <a:pt x="0" y="123339"/>
                  </a:lnTo>
                  <a:lnTo>
                    <a:pt x="67246" y="99319"/>
                  </a:lnTo>
                  <a:lnTo>
                    <a:pt x="29739" y="21255"/>
                  </a:lnTo>
                  <a:lnTo>
                    <a:pt x="74013" y="0"/>
                  </a:lnTo>
                  <a:close/>
                </a:path>
              </a:pathLst>
            </a:custGeom>
            <a:solidFill>
              <a:schemeClr val="accent1">
                <a:lumMod val="60000"/>
                <a:lumOff val="40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15" name="Freeform: Shape 114">
              <a:extLst>
                <a:ext uri="{FF2B5EF4-FFF2-40B4-BE49-F238E27FC236}">
                  <a16:creationId xmlns:a16="http://schemas.microsoft.com/office/drawing/2014/main" id="{75BD0693-44F8-D5F0-F736-926AACE32D5A}"/>
                </a:ext>
              </a:extLst>
            </p:cNvPr>
            <p:cNvSpPr/>
            <p:nvPr/>
          </p:nvSpPr>
          <p:spPr>
            <a:xfrm>
              <a:off x="5944125" y="1589280"/>
              <a:ext cx="58186" cy="128671"/>
            </a:xfrm>
            <a:custGeom>
              <a:avLst/>
              <a:gdLst>
                <a:gd name="connsiteX0" fmla="*/ 1009 w 81475"/>
                <a:gd name="connsiteY0" fmla="*/ 24127 h 180170"/>
                <a:gd name="connsiteX1" fmla="*/ 27460 w 81475"/>
                <a:gd name="connsiteY1" fmla="*/ 108434 h 180170"/>
                <a:gd name="connsiteX2" fmla="*/ 60963 w 81475"/>
                <a:gd name="connsiteY2" fmla="*/ 178586 h 180170"/>
                <a:gd name="connsiteX3" fmla="*/ 77834 w 81475"/>
                <a:gd name="connsiteY3" fmla="*/ 174154 h 180170"/>
                <a:gd name="connsiteX4" fmla="*/ 65824 w 81475"/>
                <a:gd name="connsiteY4" fmla="*/ 97854 h 180170"/>
                <a:gd name="connsiteX5" fmla="*/ 38897 w 81475"/>
                <a:gd name="connsiteY5" fmla="*/ 13689 h 180170"/>
                <a:gd name="connsiteX6" fmla="*/ 1009 w 81475"/>
                <a:gd name="connsiteY6" fmla="*/ 24127 h 180170"/>
                <a:gd name="connsiteX7" fmla="*/ 1009 w 81475"/>
                <a:gd name="connsiteY7" fmla="*/ 24127 h 180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475" h="180170">
                  <a:moveTo>
                    <a:pt x="1009" y="24127"/>
                  </a:moveTo>
                  <a:cubicBezTo>
                    <a:pt x="9826" y="52245"/>
                    <a:pt x="18642" y="80315"/>
                    <a:pt x="27460" y="108434"/>
                  </a:cubicBezTo>
                  <a:cubicBezTo>
                    <a:pt x="34370" y="130404"/>
                    <a:pt x="39469" y="166100"/>
                    <a:pt x="60963" y="178586"/>
                  </a:cubicBezTo>
                  <a:cubicBezTo>
                    <a:pt x="66253" y="181684"/>
                    <a:pt x="75070" y="180254"/>
                    <a:pt x="77834" y="174154"/>
                  </a:cubicBezTo>
                  <a:cubicBezTo>
                    <a:pt x="88462" y="150706"/>
                    <a:pt x="73164" y="120777"/>
                    <a:pt x="65824" y="97854"/>
                  </a:cubicBezTo>
                  <a:cubicBezTo>
                    <a:pt x="56864" y="69783"/>
                    <a:pt x="47857" y="41712"/>
                    <a:pt x="38897" y="13689"/>
                  </a:cubicBezTo>
                  <a:cubicBezTo>
                    <a:pt x="31224" y="-10330"/>
                    <a:pt x="-6616" y="-131"/>
                    <a:pt x="1009" y="24127"/>
                  </a:cubicBezTo>
                  <a:lnTo>
                    <a:pt x="1009" y="24127"/>
                  </a:lnTo>
                  <a:close/>
                </a:path>
              </a:pathLst>
            </a:custGeom>
            <a:solidFill>
              <a:schemeClr val="accent1">
                <a:lumMod val="75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16" name="Freeform: Shape 115">
              <a:extLst>
                <a:ext uri="{FF2B5EF4-FFF2-40B4-BE49-F238E27FC236}">
                  <a16:creationId xmlns:a16="http://schemas.microsoft.com/office/drawing/2014/main" id="{57C89D57-D472-3433-2276-13B908A64DB3}"/>
                </a:ext>
              </a:extLst>
            </p:cNvPr>
            <p:cNvSpPr/>
            <p:nvPr/>
          </p:nvSpPr>
          <p:spPr>
            <a:xfrm>
              <a:off x="6125982" y="1575067"/>
              <a:ext cx="58482" cy="137287"/>
            </a:xfrm>
            <a:custGeom>
              <a:avLst/>
              <a:gdLst>
                <a:gd name="connsiteX0" fmla="*/ 43846 w 81889"/>
                <a:gd name="connsiteY0" fmla="*/ 13575 h 192235"/>
                <a:gd name="connsiteX1" fmla="*/ 1240 w 81889"/>
                <a:gd name="connsiteY1" fmla="*/ 180140 h 192235"/>
                <a:gd name="connsiteX2" fmla="*/ 29120 w 81889"/>
                <a:gd name="connsiteY2" fmla="*/ 187527 h 192235"/>
                <a:gd name="connsiteX3" fmla="*/ 81067 w 81889"/>
                <a:gd name="connsiteY3" fmla="*/ 23869 h 192235"/>
                <a:gd name="connsiteX4" fmla="*/ 43846 w 81889"/>
                <a:gd name="connsiteY4" fmla="*/ 13575 h 192235"/>
                <a:gd name="connsiteX5" fmla="*/ 43846 w 81889"/>
                <a:gd name="connsiteY5" fmla="*/ 13575 h 192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889" h="192235">
                  <a:moveTo>
                    <a:pt x="43846" y="13575"/>
                  </a:moveTo>
                  <a:cubicBezTo>
                    <a:pt x="-1667" y="168940"/>
                    <a:pt x="-2144" y="164270"/>
                    <a:pt x="1240" y="180140"/>
                  </a:cubicBezTo>
                  <a:cubicBezTo>
                    <a:pt x="3861" y="192484"/>
                    <a:pt x="20732" y="196153"/>
                    <a:pt x="29120" y="187527"/>
                  </a:cubicBezTo>
                  <a:cubicBezTo>
                    <a:pt x="39748" y="176566"/>
                    <a:pt x="37126" y="179759"/>
                    <a:pt x="81067" y="23869"/>
                  </a:cubicBezTo>
                  <a:cubicBezTo>
                    <a:pt x="87835" y="-103"/>
                    <a:pt x="50804" y="-10254"/>
                    <a:pt x="43846" y="13575"/>
                  </a:cubicBezTo>
                  <a:lnTo>
                    <a:pt x="43846" y="13575"/>
                  </a:lnTo>
                  <a:close/>
                </a:path>
              </a:pathLst>
            </a:custGeom>
            <a:solidFill>
              <a:schemeClr val="accent1">
                <a:lumMod val="75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17" name="Freeform: Shape 116">
              <a:extLst>
                <a:ext uri="{FF2B5EF4-FFF2-40B4-BE49-F238E27FC236}">
                  <a16:creationId xmlns:a16="http://schemas.microsoft.com/office/drawing/2014/main" id="{BF4038DA-80A8-B933-759A-D6D453397BB1}"/>
                </a:ext>
              </a:extLst>
            </p:cNvPr>
            <p:cNvSpPr/>
            <p:nvPr/>
          </p:nvSpPr>
          <p:spPr>
            <a:xfrm>
              <a:off x="6260203" y="1757989"/>
              <a:ext cx="130971" cy="75245"/>
            </a:xfrm>
            <a:custGeom>
              <a:avLst/>
              <a:gdLst>
                <a:gd name="connsiteX0" fmla="*/ 29524 w 183391"/>
                <a:gd name="connsiteY0" fmla="*/ 103248 h 105361"/>
                <a:gd name="connsiteX1" fmla="*/ 109971 w 183391"/>
                <a:gd name="connsiteY1" fmla="*/ 64645 h 105361"/>
                <a:gd name="connsiteX2" fmla="*/ 180933 w 183391"/>
                <a:gd name="connsiteY2" fmla="*/ 22420 h 105361"/>
                <a:gd name="connsiteX3" fmla="*/ 168066 w 183391"/>
                <a:gd name="connsiteY3" fmla="*/ 21 h 105361"/>
                <a:gd name="connsiteX4" fmla="*/ 90192 w 183391"/>
                <a:gd name="connsiteY4" fmla="*/ 30760 h 105361"/>
                <a:gd name="connsiteX5" fmla="*/ 9936 w 183391"/>
                <a:gd name="connsiteY5" fmla="*/ 69697 h 105361"/>
                <a:gd name="connsiteX6" fmla="*/ 29524 w 183391"/>
                <a:gd name="connsiteY6" fmla="*/ 103248 h 105361"/>
                <a:gd name="connsiteX7" fmla="*/ 29524 w 183391"/>
                <a:gd name="connsiteY7" fmla="*/ 103248 h 10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3391" h="105361">
                  <a:moveTo>
                    <a:pt x="29524" y="103248"/>
                  </a:moveTo>
                  <a:cubicBezTo>
                    <a:pt x="56355" y="90381"/>
                    <a:pt x="83139" y="77513"/>
                    <a:pt x="109971" y="64645"/>
                  </a:cubicBezTo>
                  <a:cubicBezTo>
                    <a:pt x="133847" y="53207"/>
                    <a:pt x="164587" y="44105"/>
                    <a:pt x="180933" y="22420"/>
                  </a:cubicBezTo>
                  <a:cubicBezTo>
                    <a:pt x="188130" y="12889"/>
                    <a:pt x="178217" y="307"/>
                    <a:pt x="168066" y="21"/>
                  </a:cubicBezTo>
                  <a:cubicBezTo>
                    <a:pt x="141568" y="-742"/>
                    <a:pt x="113307" y="19561"/>
                    <a:pt x="90192" y="30760"/>
                  </a:cubicBezTo>
                  <a:cubicBezTo>
                    <a:pt x="63456" y="43723"/>
                    <a:pt x="36672" y="56734"/>
                    <a:pt x="9936" y="69697"/>
                  </a:cubicBezTo>
                  <a:cubicBezTo>
                    <a:pt x="-12558" y="80658"/>
                    <a:pt x="7125" y="114019"/>
                    <a:pt x="29524" y="103248"/>
                  </a:cubicBezTo>
                  <a:lnTo>
                    <a:pt x="29524" y="103248"/>
                  </a:lnTo>
                  <a:close/>
                </a:path>
              </a:pathLst>
            </a:custGeom>
            <a:solidFill>
              <a:schemeClr val="accent1">
                <a:lumMod val="75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18" name="Freeform: Shape 117">
              <a:extLst>
                <a:ext uri="{FF2B5EF4-FFF2-40B4-BE49-F238E27FC236}">
                  <a16:creationId xmlns:a16="http://schemas.microsoft.com/office/drawing/2014/main" id="{E844E2CD-B915-D567-E800-EC1CF0E7E54F}"/>
                </a:ext>
              </a:extLst>
            </p:cNvPr>
            <p:cNvSpPr/>
            <p:nvPr/>
          </p:nvSpPr>
          <p:spPr>
            <a:xfrm>
              <a:off x="6215542" y="2141996"/>
              <a:ext cx="86620" cy="101703"/>
            </a:xfrm>
            <a:custGeom>
              <a:avLst/>
              <a:gdLst>
                <a:gd name="connsiteX0" fmla="*/ 4178 w 121289"/>
                <a:gd name="connsiteY0" fmla="*/ 32309 h 142409"/>
                <a:gd name="connsiteX1" fmla="*/ 90439 w 121289"/>
                <a:gd name="connsiteY1" fmla="*/ 136585 h 142409"/>
                <a:gd name="connsiteX2" fmla="*/ 116604 w 121289"/>
                <a:gd name="connsiteY2" fmla="*/ 110420 h 142409"/>
                <a:gd name="connsiteX3" fmla="*/ 30152 w 121289"/>
                <a:gd name="connsiteY3" fmla="*/ 6383 h 142409"/>
                <a:gd name="connsiteX4" fmla="*/ 4178 w 121289"/>
                <a:gd name="connsiteY4" fmla="*/ 32309 h 142409"/>
                <a:gd name="connsiteX5" fmla="*/ 4178 w 121289"/>
                <a:gd name="connsiteY5" fmla="*/ 32309 h 142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289" h="142409">
                  <a:moveTo>
                    <a:pt x="4178" y="32309"/>
                  </a:moveTo>
                  <a:cubicBezTo>
                    <a:pt x="31677" y="67814"/>
                    <a:pt x="59271" y="104130"/>
                    <a:pt x="90439" y="136585"/>
                  </a:cubicBezTo>
                  <a:cubicBezTo>
                    <a:pt x="107215" y="154028"/>
                    <a:pt x="131616" y="128435"/>
                    <a:pt x="116604" y="110420"/>
                  </a:cubicBezTo>
                  <a:cubicBezTo>
                    <a:pt x="87722" y="75725"/>
                    <a:pt x="58032" y="41936"/>
                    <a:pt x="30152" y="6383"/>
                  </a:cubicBezTo>
                  <a:cubicBezTo>
                    <a:pt x="15521" y="-12204"/>
                    <a:pt x="-10071" y="13913"/>
                    <a:pt x="4178" y="32309"/>
                  </a:cubicBezTo>
                  <a:lnTo>
                    <a:pt x="4178" y="32309"/>
                  </a:lnTo>
                  <a:close/>
                </a:path>
              </a:pathLst>
            </a:custGeom>
            <a:solidFill>
              <a:schemeClr val="accent1">
                <a:lumMod val="75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19" name="Freeform: Shape 118">
              <a:extLst>
                <a:ext uri="{FF2B5EF4-FFF2-40B4-BE49-F238E27FC236}">
                  <a16:creationId xmlns:a16="http://schemas.microsoft.com/office/drawing/2014/main" id="{70FEBC5E-64BC-B2A0-E660-D7F605A23851}"/>
                </a:ext>
              </a:extLst>
            </p:cNvPr>
            <p:cNvSpPr/>
            <p:nvPr/>
          </p:nvSpPr>
          <p:spPr>
            <a:xfrm>
              <a:off x="6284102" y="2010092"/>
              <a:ext cx="122685" cy="63376"/>
            </a:xfrm>
            <a:custGeom>
              <a:avLst/>
              <a:gdLst>
                <a:gd name="connsiteX0" fmla="*/ 9403 w 171788"/>
                <a:gd name="connsiteY0" fmla="*/ 35763 h 88742"/>
                <a:gd name="connsiteX1" fmla="*/ 84608 w 171788"/>
                <a:gd name="connsiteY1" fmla="*/ 66646 h 88742"/>
                <a:gd name="connsiteX2" fmla="*/ 160003 w 171788"/>
                <a:gd name="connsiteY2" fmla="*/ 88235 h 88742"/>
                <a:gd name="connsiteX3" fmla="*/ 167342 w 171788"/>
                <a:gd name="connsiteY3" fmla="*/ 60498 h 88742"/>
                <a:gd name="connsiteX4" fmla="*/ 98190 w 171788"/>
                <a:gd name="connsiteY4" fmla="*/ 29901 h 88742"/>
                <a:gd name="connsiteX5" fmla="*/ 24034 w 171788"/>
                <a:gd name="connsiteY5" fmla="*/ 1068 h 88742"/>
                <a:gd name="connsiteX6" fmla="*/ 9403 w 171788"/>
                <a:gd name="connsiteY6" fmla="*/ 35763 h 88742"/>
                <a:gd name="connsiteX7" fmla="*/ 9403 w 171788"/>
                <a:gd name="connsiteY7" fmla="*/ 35763 h 88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788" h="88742">
                  <a:moveTo>
                    <a:pt x="9403" y="35763"/>
                  </a:moveTo>
                  <a:cubicBezTo>
                    <a:pt x="34233" y="46677"/>
                    <a:pt x="59397" y="56781"/>
                    <a:pt x="84608" y="66646"/>
                  </a:cubicBezTo>
                  <a:cubicBezTo>
                    <a:pt x="107674" y="75653"/>
                    <a:pt x="135030" y="91809"/>
                    <a:pt x="160003" y="88235"/>
                  </a:cubicBezTo>
                  <a:cubicBezTo>
                    <a:pt x="173252" y="86329"/>
                    <a:pt x="174777" y="68647"/>
                    <a:pt x="167342" y="60498"/>
                  </a:cubicBezTo>
                  <a:cubicBezTo>
                    <a:pt x="158001" y="50251"/>
                    <a:pt x="152997" y="51014"/>
                    <a:pt x="98190" y="29901"/>
                  </a:cubicBezTo>
                  <a:cubicBezTo>
                    <a:pt x="73456" y="20370"/>
                    <a:pt x="48912" y="10362"/>
                    <a:pt x="24034" y="1068"/>
                  </a:cubicBezTo>
                  <a:cubicBezTo>
                    <a:pt x="4113" y="-6366"/>
                    <a:pt x="-10327" y="27137"/>
                    <a:pt x="9403" y="35763"/>
                  </a:cubicBezTo>
                  <a:lnTo>
                    <a:pt x="9403" y="35763"/>
                  </a:lnTo>
                  <a:close/>
                </a:path>
              </a:pathLst>
            </a:custGeom>
            <a:solidFill>
              <a:schemeClr val="accent1">
                <a:lumMod val="75000"/>
              </a:schemeClr>
            </a:solidFill>
            <a:ln w="4763"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grpSp>
      <p:sp>
        <p:nvSpPr>
          <p:cNvPr id="4" name="1 Shape Name"/>
          <p:cNvSpPr>
            <a:spLocks noGrp="1"/>
          </p:cNvSpPr>
          <p:nvPr>
            <p:ph type="title"/>
          </p:nvPr>
        </p:nvSpPr>
        <p:spPr>
          <a:prstGeom prst="rect">
            <a:avLst/>
          </a:prstGeom>
        </p:spPr>
        <p:txBody>
          <a:bodyPr/>
          <a:lstStyle/>
          <a:p>
            <a:r>
              <a:rPr lang="da-DK" dirty="0"/>
              <a:t>Kassererens rolle</a:t>
            </a:r>
            <a:endParaRPr dirty="0"/>
          </a:p>
        </p:txBody>
      </p:sp>
      <p:sp>
        <p:nvSpPr>
          <p:cNvPr id="2" name="Tekstfelt 1">
            <a:extLst>
              <a:ext uri="{FF2B5EF4-FFF2-40B4-BE49-F238E27FC236}">
                <a16:creationId xmlns:a16="http://schemas.microsoft.com/office/drawing/2014/main" id="{D33BA810-C3AD-6E24-CDF4-A46C5FBC349B}"/>
              </a:ext>
            </a:extLst>
          </p:cNvPr>
          <p:cNvSpPr txBox="1"/>
          <p:nvPr/>
        </p:nvSpPr>
        <p:spPr>
          <a:xfrm>
            <a:off x="709469" y="1644377"/>
            <a:ext cx="4078463" cy="338554"/>
          </a:xfrm>
          <a:prstGeom prst="rect">
            <a:avLst/>
          </a:prstGeom>
          <a:noFill/>
        </p:spPr>
        <p:txBody>
          <a:bodyPr wrap="square" rtlCol="0">
            <a:spAutoFit/>
          </a:bodyPr>
          <a:lstStyle/>
          <a:p>
            <a:pPr marL="0" indent="0">
              <a:buNone/>
            </a:pPr>
            <a:r>
              <a:rPr lang="da-DK" sz="1600" b="1" dirty="0"/>
              <a:t>Kassereren har et stort ansvar</a:t>
            </a:r>
            <a:endParaRPr lang="da-DK" b="1" dirty="0">
              <a:solidFill>
                <a:srgbClr val="C00000"/>
              </a:solidFill>
            </a:endParaRPr>
          </a:p>
        </p:txBody>
      </p:sp>
      <p:sp>
        <p:nvSpPr>
          <p:cNvPr id="3" name="Tekstfelt 2">
            <a:extLst>
              <a:ext uri="{FF2B5EF4-FFF2-40B4-BE49-F238E27FC236}">
                <a16:creationId xmlns:a16="http://schemas.microsoft.com/office/drawing/2014/main" id="{9D564436-201E-5D2A-4A3A-0923C5126AF4}"/>
              </a:ext>
            </a:extLst>
          </p:cNvPr>
          <p:cNvSpPr txBox="1"/>
          <p:nvPr/>
        </p:nvSpPr>
        <p:spPr>
          <a:xfrm>
            <a:off x="707631" y="1906944"/>
            <a:ext cx="4078463" cy="1446550"/>
          </a:xfrm>
          <a:prstGeom prst="rect">
            <a:avLst/>
          </a:prstGeom>
          <a:noFill/>
        </p:spPr>
        <p:txBody>
          <a:bodyPr wrap="square" rtlCol="0">
            <a:spAutoFit/>
          </a:bodyPr>
          <a:lstStyle/>
          <a:p>
            <a:pPr marL="0" indent="0">
              <a:buNone/>
            </a:pPr>
            <a:r>
              <a:rPr lang="da-DK" sz="1600" b="1" dirty="0"/>
              <a:t>ikke mindst</a:t>
            </a:r>
          </a:p>
          <a:p>
            <a:pPr marL="0" indent="0">
              <a:buNone/>
            </a:pPr>
            <a:endParaRPr lang="da-DK" sz="1600" b="1" dirty="0"/>
          </a:p>
          <a:p>
            <a:pPr marL="0" indent="0">
              <a:buNone/>
            </a:pPr>
            <a:r>
              <a:rPr lang="da-DK" b="1" dirty="0">
                <a:solidFill>
                  <a:srgbClr val="C00000"/>
                </a:solidFill>
              </a:rPr>
              <a:t>ansvar</a:t>
            </a:r>
          </a:p>
          <a:p>
            <a:pPr marL="0" indent="0">
              <a:buNone/>
            </a:pPr>
            <a:r>
              <a:rPr lang="da-DK" b="1" dirty="0">
                <a:solidFill>
                  <a:srgbClr val="C00000"/>
                </a:solidFill>
              </a:rPr>
              <a:t>for at bede om hjælp </a:t>
            </a:r>
          </a:p>
          <a:p>
            <a:pPr marL="0" indent="0">
              <a:buNone/>
            </a:pPr>
            <a:r>
              <a:rPr lang="da-DK" b="1" dirty="0">
                <a:solidFill>
                  <a:srgbClr val="C00000"/>
                </a:solidFill>
              </a:rPr>
              <a:t>i tide</a:t>
            </a:r>
          </a:p>
        </p:txBody>
      </p:sp>
    </p:spTree>
    <p:custDataLst>
      <p:tags r:id="rId1"/>
    </p:custDataLst>
    <p:extLst>
      <p:ext uri="{BB962C8B-B14F-4D97-AF65-F5344CB8AC3E}">
        <p14:creationId xmlns:p14="http://schemas.microsoft.com/office/powerpoint/2010/main" val="417536127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8DCFC5E-6681-43C0-9777-6EDC6F6E73D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9" imgH="409" progId="TCLayout.ActiveDocument.1">
                  <p:embed/>
                </p:oleObj>
              </mc:Choice>
              <mc:Fallback>
                <p:oleObj name="think-cell Slide" r:id="rId5" imgW="409" imgH="409" progId="TCLayout.ActiveDocument.1">
                  <p:embed/>
                  <p:pic>
                    <p:nvPicPr>
                      <p:cNvPr id="4" name="Object 3" hidden="1">
                        <a:extLst>
                          <a:ext uri="{FF2B5EF4-FFF2-40B4-BE49-F238E27FC236}">
                            <a16:creationId xmlns:a16="http://schemas.microsoft.com/office/drawing/2014/main" id="{18DCFC5E-6681-43C0-9777-6EDC6F6E73D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217079C0-74D0-43EE-9D31-B7777AB1383A}"/>
              </a:ext>
            </a:extLst>
          </p:cNvPr>
          <p:cNvGrpSpPr/>
          <p:nvPr/>
        </p:nvGrpSpPr>
        <p:grpSpPr>
          <a:xfrm rot="1287381">
            <a:off x="3873901" y="1668999"/>
            <a:ext cx="4444200" cy="4434398"/>
            <a:chOff x="3913428" y="1251241"/>
            <a:chExt cx="4365145" cy="4355518"/>
          </a:xfrm>
        </p:grpSpPr>
        <p:grpSp>
          <p:nvGrpSpPr>
            <p:cNvPr id="5" name="Group 4">
              <a:extLst>
                <a:ext uri="{FF2B5EF4-FFF2-40B4-BE49-F238E27FC236}">
                  <a16:creationId xmlns:a16="http://schemas.microsoft.com/office/drawing/2014/main" id="{85611F2B-EAE9-4672-AC64-AD7CFF5435C5}"/>
                </a:ext>
              </a:extLst>
            </p:cNvPr>
            <p:cNvGrpSpPr/>
            <p:nvPr/>
          </p:nvGrpSpPr>
          <p:grpSpPr>
            <a:xfrm>
              <a:off x="3913428" y="1251241"/>
              <a:ext cx="4365145" cy="4355518"/>
              <a:chOff x="3803495" y="1248812"/>
              <a:chExt cx="4365145" cy="4355518"/>
            </a:xfrm>
          </p:grpSpPr>
          <p:grpSp>
            <p:nvGrpSpPr>
              <p:cNvPr id="58" name="Graphic 1">
                <a:extLst>
                  <a:ext uri="{FF2B5EF4-FFF2-40B4-BE49-F238E27FC236}">
                    <a16:creationId xmlns:a16="http://schemas.microsoft.com/office/drawing/2014/main" id="{38B9CD2A-2EE4-4BD4-9F04-B94411863820}"/>
                  </a:ext>
                </a:extLst>
              </p:cNvPr>
              <p:cNvGrpSpPr/>
              <p:nvPr/>
            </p:nvGrpSpPr>
            <p:grpSpPr>
              <a:xfrm>
                <a:off x="3803495" y="1248812"/>
                <a:ext cx="4365145" cy="4355518"/>
                <a:chOff x="1137173" y="0"/>
                <a:chExt cx="6869653" cy="6854504"/>
              </a:xfrm>
              <a:solidFill>
                <a:schemeClr val="accent1"/>
              </a:solidFill>
            </p:grpSpPr>
            <p:sp>
              <p:nvSpPr>
                <p:cNvPr id="60" name="Freeform: Shape 59">
                  <a:extLst>
                    <a:ext uri="{FF2B5EF4-FFF2-40B4-BE49-F238E27FC236}">
                      <a16:creationId xmlns:a16="http://schemas.microsoft.com/office/drawing/2014/main" id="{3BABA6BA-C3DE-4537-AB49-EE9096AFAB90}"/>
                    </a:ext>
                  </a:extLst>
                </p:cNvPr>
                <p:cNvSpPr/>
                <p:nvPr/>
              </p:nvSpPr>
              <p:spPr>
                <a:xfrm>
                  <a:off x="4347672" y="3428417"/>
                  <a:ext cx="5827" cy="5827"/>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grpFill/>
                <a:ln w="5825" cap="flat">
                  <a:noFill/>
                  <a:prstDash val="solid"/>
                  <a:miter/>
                </a:ln>
              </p:spPr>
              <p:txBody>
                <a:bodyPr rtlCol="0" anchor="ctr">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sz="1800"/>
                </a:p>
              </p:txBody>
            </p:sp>
            <p:sp>
              <p:nvSpPr>
                <p:cNvPr id="61" name="Freeform: Shape 60">
                  <a:extLst>
                    <a:ext uri="{FF2B5EF4-FFF2-40B4-BE49-F238E27FC236}">
                      <a16:creationId xmlns:a16="http://schemas.microsoft.com/office/drawing/2014/main" id="{8B9D9112-89F6-430C-81A0-2E74E4E3190C}"/>
                    </a:ext>
                  </a:extLst>
                </p:cNvPr>
                <p:cNvSpPr/>
                <p:nvPr/>
              </p:nvSpPr>
              <p:spPr>
                <a:xfrm>
                  <a:off x="4347672" y="3428417"/>
                  <a:ext cx="5827" cy="5827"/>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grpFill/>
                <a:ln w="5825" cap="flat">
                  <a:noFill/>
                  <a:prstDash val="solid"/>
                  <a:miter/>
                </a:ln>
              </p:spPr>
              <p:txBody>
                <a:bodyPr rtlCol="0" anchor="ctr">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sz="1800"/>
                </a:p>
              </p:txBody>
            </p:sp>
            <p:sp>
              <p:nvSpPr>
                <p:cNvPr id="62" name="Freeform: Shape 61">
                  <a:extLst>
                    <a:ext uri="{FF2B5EF4-FFF2-40B4-BE49-F238E27FC236}">
                      <a16:creationId xmlns:a16="http://schemas.microsoft.com/office/drawing/2014/main" id="{70607DE7-48AA-4C75-A07E-48CDE4B2241A}"/>
                    </a:ext>
                  </a:extLst>
                </p:cNvPr>
                <p:cNvSpPr/>
                <p:nvPr/>
              </p:nvSpPr>
              <p:spPr>
                <a:xfrm>
                  <a:off x="1482490" y="3423294"/>
                  <a:ext cx="2859939" cy="3011691"/>
                </a:xfrm>
                <a:custGeom>
                  <a:avLst/>
                  <a:gdLst>
                    <a:gd name="connsiteX0" fmla="*/ 2860316 w 2855072"/>
                    <a:gd name="connsiteY0" fmla="*/ 0 h 3006565"/>
                    <a:gd name="connsiteX1" fmla="*/ 1341884 w 2855072"/>
                    <a:gd name="connsiteY1" fmla="*/ 493519 h 3006565"/>
                    <a:gd name="connsiteX2" fmla="*/ 0 w 2855072"/>
                    <a:gd name="connsiteY2" fmla="*/ 929355 h 3006565"/>
                    <a:gd name="connsiteX3" fmla="*/ 1093085 w 2855072"/>
                    <a:gd name="connsiteY3" fmla="*/ 2432638 h 3006565"/>
                    <a:gd name="connsiteX4" fmla="*/ 2860316 w 2855072"/>
                    <a:gd name="connsiteY4" fmla="*/ 3006566 h 3006565"/>
                    <a:gd name="connsiteX5" fmla="*/ 2860316 w 2855072"/>
                    <a:gd name="connsiteY5" fmla="*/ 1596510 h 3006565"/>
                    <a:gd name="connsiteX6" fmla="*/ 2860316 w 2855072"/>
                    <a:gd name="connsiteY6" fmla="*/ 0 h 3006565"/>
                    <a:gd name="connsiteX7" fmla="*/ 2860316 w 2855072"/>
                    <a:gd name="connsiteY7" fmla="*/ 0 h 3006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5072" h="3006565">
                      <a:moveTo>
                        <a:pt x="2860316" y="0"/>
                      </a:moveTo>
                      <a:lnTo>
                        <a:pt x="1341884" y="493519"/>
                      </a:lnTo>
                      <a:lnTo>
                        <a:pt x="0" y="929355"/>
                      </a:lnTo>
                      <a:cubicBezTo>
                        <a:pt x="198107" y="1538826"/>
                        <a:pt x="585581" y="2063227"/>
                        <a:pt x="1093085" y="2432638"/>
                      </a:cubicBezTo>
                      <a:cubicBezTo>
                        <a:pt x="1588935" y="2793892"/>
                        <a:pt x="2200154" y="3006566"/>
                        <a:pt x="2860316" y="3006566"/>
                      </a:cubicBezTo>
                      <a:lnTo>
                        <a:pt x="2860316" y="1596510"/>
                      </a:lnTo>
                      <a:lnTo>
                        <a:pt x="2860316" y="0"/>
                      </a:lnTo>
                      <a:lnTo>
                        <a:pt x="2860316" y="0"/>
                      </a:lnTo>
                      <a:close/>
                    </a:path>
                  </a:pathLst>
                </a:custGeom>
                <a:solidFill>
                  <a:schemeClr val="accent1"/>
                </a:solidFill>
                <a:ln w="5825" cap="flat">
                  <a:noFill/>
                  <a:prstDash val="solid"/>
                  <a:miter/>
                </a:ln>
              </p:spPr>
              <p:txBody>
                <a:bodyPr rtlCol="0" anchor="ctr">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sz="1800"/>
                </a:p>
              </p:txBody>
            </p:sp>
            <p:sp>
              <p:nvSpPr>
                <p:cNvPr id="63" name="Freeform: Shape 62">
                  <a:extLst>
                    <a:ext uri="{FF2B5EF4-FFF2-40B4-BE49-F238E27FC236}">
                      <a16:creationId xmlns:a16="http://schemas.microsoft.com/office/drawing/2014/main" id="{8039C239-C009-4230-9C6A-3F0F4FAFEAE6}"/>
                    </a:ext>
                  </a:extLst>
                </p:cNvPr>
                <p:cNvSpPr/>
                <p:nvPr/>
              </p:nvSpPr>
              <p:spPr>
                <a:xfrm>
                  <a:off x="4347672" y="3428417"/>
                  <a:ext cx="5827" cy="5827"/>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grpFill/>
                <a:ln w="5825" cap="flat">
                  <a:noFill/>
                  <a:prstDash val="solid"/>
                  <a:miter/>
                </a:ln>
              </p:spPr>
              <p:txBody>
                <a:bodyPr rtlCol="0" anchor="ctr">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sz="1800"/>
                </a:p>
              </p:txBody>
            </p:sp>
            <p:sp>
              <p:nvSpPr>
                <p:cNvPr id="65" name="Freeform: Shape 64">
                  <a:extLst>
                    <a:ext uri="{FF2B5EF4-FFF2-40B4-BE49-F238E27FC236}">
                      <a16:creationId xmlns:a16="http://schemas.microsoft.com/office/drawing/2014/main" id="{76C75741-1609-48A1-8003-C8084F022593}"/>
                    </a:ext>
                  </a:extLst>
                </p:cNvPr>
                <p:cNvSpPr/>
                <p:nvPr/>
              </p:nvSpPr>
              <p:spPr>
                <a:xfrm>
                  <a:off x="4347672" y="3428417"/>
                  <a:ext cx="5827" cy="5827"/>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grpFill/>
                <a:ln w="5825" cap="flat">
                  <a:noFill/>
                  <a:prstDash val="solid"/>
                  <a:miter/>
                </a:ln>
              </p:spPr>
              <p:txBody>
                <a:bodyPr rtlCol="0" anchor="ctr">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sz="1800"/>
                </a:p>
              </p:txBody>
            </p:sp>
            <p:sp>
              <p:nvSpPr>
                <p:cNvPr id="66" name="Freeform: Shape 65">
                  <a:extLst>
                    <a:ext uri="{FF2B5EF4-FFF2-40B4-BE49-F238E27FC236}">
                      <a16:creationId xmlns:a16="http://schemas.microsoft.com/office/drawing/2014/main" id="{C639E998-F4A8-46FF-9027-B9AF58B3A2C6}"/>
                    </a:ext>
                  </a:extLst>
                </p:cNvPr>
                <p:cNvSpPr/>
                <p:nvPr/>
              </p:nvSpPr>
              <p:spPr>
                <a:xfrm>
                  <a:off x="4347672" y="3428417"/>
                  <a:ext cx="5827" cy="5827"/>
                </a:xfrm>
                <a:custGeom>
                  <a:avLst/>
                  <a:gdLst>
                    <a:gd name="connsiteX0" fmla="*/ 0 w 0"/>
                    <a:gd name="connsiteY0" fmla="*/ 0 h 0"/>
                    <a:gd name="connsiteX1" fmla="*/ 0 w 0"/>
                    <a:gd name="connsiteY1" fmla="*/ 0 h 0"/>
                    <a:gd name="connsiteX2" fmla="*/ 0 w 0"/>
                    <a:gd name="connsiteY2" fmla="*/ 0 h 0"/>
                    <a:gd name="connsiteX3" fmla="*/ 0 w 0"/>
                    <a:gd name="connsiteY3" fmla="*/ 0 h 0"/>
                  </a:gdLst>
                  <a:ahLst/>
                  <a:cxnLst>
                    <a:cxn ang="0">
                      <a:pos x="connsiteX0" y="connsiteY0"/>
                    </a:cxn>
                    <a:cxn ang="0">
                      <a:pos x="connsiteX1" y="connsiteY1"/>
                    </a:cxn>
                    <a:cxn ang="0">
                      <a:pos x="connsiteX2" y="connsiteY2"/>
                    </a:cxn>
                    <a:cxn ang="0">
                      <a:pos x="connsiteX3" y="connsiteY3"/>
                    </a:cxn>
                  </a:cxnLst>
                  <a:rect l="l" t="t" r="r" b="b"/>
                  <a:pathLst>
                    <a:path>
                      <a:moveTo>
                        <a:pt x="0" y="0"/>
                      </a:moveTo>
                      <a:lnTo>
                        <a:pt x="0" y="0"/>
                      </a:lnTo>
                      <a:lnTo>
                        <a:pt x="0" y="0"/>
                      </a:lnTo>
                      <a:lnTo>
                        <a:pt x="0" y="0"/>
                      </a:lnTo>
                      <a:close/>
                    </a:path>
                  </a:pathLst>
                </a:custGeom>
                <a:grpFill/>
                <a:ln w="5825" cap="flat">
                  <a:noFill/>
                  <a:prstDash val="solid"/>
                  <a:miter/>
                </a:ln>
              </p:spPr>
              <p:txBody>
                <a:bodyPr rtlCol="0" anchor="ctr">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sz="1800"/>
                </a:p>
              </p:txBody>
            </p:sp>
            <p:sp>
              <p:nvSpPr>
                <p:cNvPr id="67" name="Freeform: Shape 66">
                  <a:extLst>
                    <a:ext uri="{FF2B5EF4-FFF2-40B4-BE49-F238E27FC236}">
                      <a16:creationId xmlns:a16="http://schemas.microsoft.com/office/drawing/2014/main" id="{1F479DA3-58C6-4B2D-9758-0691D21EF6A3}"/>
                    </a:ext>
                  </a:extLst>
                </p:cNvPr>
                <p:cNvSpPr/>
                <p:nvPr/>
              </p:nvSpPr>
              <p:spPr>
                <a:xfrm>
                  <a:off x="1137173" y="830884"/>
                  <a:ext cx="3210499" cy="3589234"/>
                </a:xfrm>
                <a:custGeom>
                  <a:avLst/>
                  <a:gdLst>
                    <a:gd name="connsiteX0" fmla="*/ 2271822 w 3210499"/>
                    <a:gd name="connsiteY0" fmla="*/ 1305759 h 3589233"/>
                    <a:gd name="connsiteX1" fmla="*/ 1443268 w 3210499"/>
                    <a:gd name="connsiteY1" fmla="*/ 164895 h 3589233"/>
                    <a:gd name="connsiteX2" fmla="*/ 1323239 w 3210499"/>
                    <a:gd name="connsiteY2" fmla="*/ 0 h 3589233"/>
                    <a:gd name="connsiteX3" fmla="*/ 156155 w 3210499"/>
                    <a:gd name="connsiteY3" fmla="*/ 1605250 h 3589233"/>
                    <a:gd name="connsiteX4" fmla="*/ 0 w 3210499"/>
                    <a:gd name="connsiteY4" fmla="*/ 2597533 h 3589233"/>
                    <a:gd name="connsiteX5" fmla="*/ 156155 w 3210499"/>
                    <a:gd name="connsiteY5" fmla="*/ 3589816 h 3589233"/>
                    <a:gd name="connsiteX6" fmla="*/ 350183 w 3210499"/>
                    <a:gd name="connsiteY6" fmla="*/ 3526888 h 3589233"/>
                    <a:gd name="connsiteX7" fmla="*/ 1691485 w 3210499"/>
                    <a:gd name="connsiteY7" fmla="*/ 3091053 h 3589233"/>
                    <a:gd name="connsiteX8" fmla="*/ 3210500 w 3210499"/>
                    <a:gd name="connsiteY8" fmla="*/ 2597533 h 3589233"/>
                    <a:gd name="connsiteX9" fmla="*/ 3210500 w 3210499"/>
                    <a:gd name="connsiteY9" fmla="*/ 2597533 h 3589233"/>
                    <a:gd name="connsiteX10" fmla="*/ 2271822 w 3210499"/>
                    <a:gd name="connsiteY10" fmla="*/ 1305759 h 358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10499" h="3589233">
                      <a:moveTo>
                        <a:pt x="2271822" y="1305759"/>
                      </a:moveTo>
                      <a:lnTo>
                        <a:pt x="1443268" y="164895"/>
                      </a:lnTo>
                      <a:lnTo>
                        <a:pt x="1323239" y="0"/>
                      </a:lnTo>
                      <a:cubicBezTo>
                        <a:pt x="781358" y="394466"/>
                        <a:pt x="367663" y="954410"/>
                        <a:pt x="156155" y="1605250"/>
                      </a:cubicBezTo>
                      <a:cubicBezTo>
                        <a:pt x="54771" y="1917560"/>
                        <a:pt x="0" y="2250846"/>
                        <a:pt x="0" y="2597533"/>
                      </a:cubicBezTo>
                      <a:cubicBezTo>
                        <a:pt x="0" y="2943638"/>
                        <a:pt x="54771" y="3277506"/>
                        <a:pt x="156155" y="3589816"/>
                      </a:cubicBezTo>
                      <a:lnTo>
                        <a:pt x="350183" y="3526888"/>
                      </a:lnTo>
                      <a:lnTo>
                        <a:pt x="1691485" y="3091053"/>
                      </a:lnTo>
                      <a:lnTo>
                        <a:pt x="3210500" y="2597533"/>
                      </a:lnTo>
                      <a:lnTo>
                        <a:pt x="3210500" y="2597533"/>
                      </a:lnTo>
                      <a:lnTo>
                        <a:pt x="2271822" y="1305759"/>
                      </a:lnTo>
                      <a:close/>
                    </a:path>
                  </a:pathLst>
                </a:custGeom>
                <a:solidFill>
                  <a:schemeClr val="accent1">
                    <a:lumMod val="75000"/>
                  </a:schemeClr>
                </a:solidFill>
                <a:ln w="5825" cap="flat">
                  <a:noFill/>
                  <a:prstDash val="solid"/>
                  <a:miter/>
                </a:ln>
              </p:spPr>
              <p:txBody>
                <a:bodyPr rtlCol="0" anchor="ctr">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sz="1800"/>
                </a:p>
              </p:txBody>
            </p:sp>
            <p:sp>
              <p:nvSpPr>
                <p:cNvPr id="68" name="Freeform: Shape 67">
                  <a:extLst>
                    <a:ext uri="{FF2B5EF4-FFF2-40B4-BE49-F238E27FC236}">
                      <a16:creationId xmlns:a16="http://schemas.microsoft.com/office/drawing/2014/main" id="{5710D6DF-D344-487A-8C03-68F14157019C}"/>
                    </a:ext>
                  </a:extLst>
                </p:cNvPr>
                <p:cNvSpPr/>
                <p:nvPr/>
              </p:nvSpPr>
              <p:spPr>
                <a:xfrm>
                  <a:off x="2332225" y="0"/>
                  <a:ext cx="4026234" cy="3426087"/>
                </a:xfrm>
                <a:custGeom>
                  <a:avLst/>
                  <a:gdLst>
                    <a:gd name="connsiteX0" fmla="*/ 2015448 w 4026234"/>
                    <a:gd name="connsiteY0" fmla="*/ 0 h 3426086"/>
                    <a:gd name="connsiteX1" fmla="*/ 2015448 w 4026234"/>
                    <a:gd name="connsiteY1" fmla="*/ 0 h 3426086"/>
                    <a:gd name="connsiteX2" fmla="*/ 0 w 4026234"/>
                    <a:gd name="connsiteY2" fmla="*/ 654336 h 3426086"/>
                    <a:gd name="connsiteX3" fmla="*/ 128187 w 4026234"/>
                    <a:gd name="connsiteY3" fmla="*/ 830302 h 3426086"/>
                    <a:gd name="connsiteX4" fmla="*/ 248216 w 4026234"/>
                    <a:gd name="connsiteY4" fmla="*/ 995197 h 3426086"/>
                    <a:gd name="connsiteX5" fmla="*/ 1077353 w 4026234"/>
                    <a:gd name="connsiteY5" fmla="*/ 2136060 h 3426086"/>
                    <a:gd name="connsiteX6" fmla="*/ 2015448 w 4026234"/>
                    <a:gd name="connsiteY6" fmla="*/ 3428418 h 3426086"/>
                    <a:gd name="connsiteX7" fmla="*/ 2954126 w 4026234"/>
                    <a:gd name="connsiteY7" fmla="*/ 2136643 h 3426086"/>
                    <a:gd name="connsiteX8" fmla="*/ 3783262 w 4026234"/>
                    <a:gd name="connsiteY8" fmla="*/ 995779 h 3426086"/>
                    <a:gd name="connsiteX9" fmla="*/ 3903291 w 4026234"/>
                    <a:gd name="connsiteY9" fmla="*/ 830884 h 3426086"/>
                    <a:gd name="connsiteX10" fmla="*/ 4031478 w 4026234"/>
                    <a:gd name="connsiteY10" fmla="*/ 654919 h 3426086"/>
                    <a:gd name="connsiteX11" fmla="*/ 2015448 w 4026234"/>
                    <a:gd name="connsiteY11" fmla="*/ 0 h 3426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26234" h="3426086">
                      <a:moveTo>
                        <a:pt x="2015448" y="0"/>
                      </a:moveTo>
                      <a:cubicBezTo>
                        <a:pt x="2015448" y="0"/>
                        <a:pt x="2015448" y="0"/>
                        <a:pt x="2015448" y="0"/>
                      </a:cubicBezTo>
                      <a:cubicBezTo>
                        <a:pt x="1262058" y="0"/>
                        <a:pt x="565770" y="242972"/>
                        <a:pt x="0" y="654336"/>
                      </a:cubicBezTo>
                      <a:lnTo>
                        <a:pt x="128187" y="830302"/>
                      </a:lnTo>
                      <a:lnTo>
                        <a:pt x="248216" y="995197"/>
                      </a:lnTo>
                      <a:lnTo>
                        <a:pt x="1077353" y="2136060"/>
                      </a:lnTo>
                      <a:lnTo>
                        <a:pt x="2015448" y="3428418"/>
                      </a:lnTo>
                      <a:lnTo>
                        <a:pt x="2954126" y="2136643"/>
                      </a:lnTo>
                      <a:lnTo>
                        <a:pt x="3783262" y="995779"/>
                      </a:lnTo>
                      <a:lnTo>
                        <a:pt x="3903291" y="830884"/>
                      </a:lnTo>
                      <a:lnTo>
                        <a:pt x="4031478" y="654919"/>
                      </a:lnTo>
                      <a:cubicBezTo>
                        <a:pt x="3465125" y="242972"/>
                        <a:pt x="2768837" y="0"/>
                        <a:pt x="2015448" y="0"/>
                      </a:cubicBezTo>
                      <a:close/>
                    </a:path>
                  </a:pathLst>
                </a:custGeom>
                <a:solidFill>
                  <a:schemeClr val="accent1"/>
                </a:solidFill>
                <a:ln w="5825" cap="flat">
                  <a:noFill/>
                  <a:prstDash val="solid"/>
                  <a:miter/>
                </a:ln>
              </p:spPr>
              <p:txBody>
                <a:bodyPr rtlCol="0" anchor="ctr">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sz="1800"/>
                </a:p>
              </p:txBody>
            </p:sp>
            <p:sp>
              <p:nvSpPr>
                <p:cNvPr id="69" name="Freeform: Shape 68">
                  <a:extLst>
                    <a:ext uri="{FF2B5EF4-FFF2-40B4-BE49-F238E27FC236}">
                      <a16:creationId xmlns:a16="http://schemas.microsoft.com/office/drawing/2014/main" id="{44836F3D-4C3D-46D6-8D40-F5D9888C2910}"/>
                    </a:ext>
                  </a:extLst>
                </p:cNvPr>
                <p:cNvSpPr/>
                <p:nvPr/>
              </p:nvSpPr>
              <p:spPr>
                <a:xfrm>
                  <a:off x="4347672" y="3428417"/>
                  <a:ext cx="3257113" cy="3426087"/>
                </a:xfrm>
                <a:custGeom>
                  <a:avLst/>
                  <a:gdLst>
                    <a:gd name="connsiteX0" fmla="*/ 3054344 w 3257112"/>
                    <a:gd name="connsiteY0" fmla="*/ 992283 h 3426086"/>
                    <a:gd name="connsiteX1" fmla="*/ 2860316 w 3257112"/>
                    <a:gd name="connsiteY1" fmla="*/ 929355 h 3426086"/>
                    <a:gd name="connsiteX2" fmla="*/ 1519015 w 3257112"/>
                    <a:gd name="connsiteY2" fmla="*/ 493519 h 3426086"/>
                    <a:gd name="connsiteX3" fmla="*/ 0 w 3257112"/>
                    <a:gd name="connsiteY3" fmla="*/ 0 h 3426086"/>
                    <a:gd name="connsiteX4" fmla="*/ 0 w 3257112"/>
                    <a:gd name="connsiteY4" fmla="*/ 1596510 h 3426086"/>
                    <a:gd name="connsiteX5" fmla="*/ 0 w 3257112"/>
                    <a:gd name="connsiteY5" fmla="*/ 3006566 h 3426086"/>
                    <a:gd name="connsiteX6" fmla="*/ 0 w 3257112"/>
                    <a:gd name="connsiteY6" fmla="*/ 3210500 h 3426086"/>
                    <a:gd name="connsiteX7" fmla="*/ 0 w 3257112"/>
                    <a:gd name="connsiteY7" fmla="*/ 3428418 h 3426086"/>
                    <a:gd name="connsiteX8" fmla="*/ 0 w 3257112"/>
                    <a:gd name="connsiteY8" fmla="*/ 3428418 h 3426086"/>
                    <a:gd name="connsiteX9" fmla="*/ 2015448 w 3257112"/>
                    <a:gd name="connsiteY9" fmla="*/ 2774081 h 3426086"/>
                    <a:gd name="connsiteX10" fmla="*/ 3261775 w 3257112"/>
                    <a:gd name="connsiteY10" fmla="*/ 1059873 h 3426086"/>
                    <a:gd name="connsiteX11" fmla="*/ 3054344 w 3257112"/>
                    <a:gd name="connsiteY11" fmla="*/ 992283 h 3426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7112" h="3426086">
                      <a:moveTo>
                        <a:pt x="3054344" y="992283"/>
                      </a:moveTo>
                      <a:lnTo>
                        <a:pt x="2860316" y="929355"/>
                      </a:lnTo>
                      <a:lnTo>
                        <a:pt x="1519015" y="493519"/>
                      </a:lnTo>
                      <a:lnTo>
                        <a:pt x="0" y="0"/>
                      </a:lnTo>
                      <a:lnTo>
                        <a:pt x="0" y="1596510"/>
                      </a:lnTo>
                      <a:lnTo>
                        <a:pt x="0" y="3006566"/>
                      </a:lnTo>
                      <a:lnTo>
                        <a:pt x="0" y="3210500"/>
                      </a:lnTo>
                      <a:lnTo>
                        <a:pt x="0" y="3428418"/>
                      </a:lnTo>
                      <a:cubicBezTo>
                        <a:pt x="0" y="3428418"/>
                        <a:pt x="0" y="3428418"/>
                        <a:pt x="0" y="3428418"/>
                      </a:cubicBezTo>
                      <a:cubicBezTo>
                        <a:pt x="753389" y="3428418"/>
                        <a:pt x="1449677" y="3185445"/>
                        <a:pt x="2015448" y="2774081"/>
                      </a:cubicBezTo>
                      <a:cubicBezTo>
                        <a:pt x="2594037" y="2352813"/>
                        <a:pt x="3035699" y="1754995"/>
                        <a:pt x="3261775" y="1059873"/>
                      </a:cubicBezTo>
                      <a:lnTo>
                        <a:pt x="3054344" y="992283"/>
                      </a:lnTo>
                      <a:close/>
                    </a:path>
                  </a:pathLst>
                </a:custGeom>
                <a:solidFill>
                  <a:schemeClr val="accent1">
                    <a:lumMod val="60000"/>
                    <a:lumOff val="40000"/>
                  </a:schemeClr>
                </a:solidFill>
                <a:ln w="5825" cap="flat">
                  <a:noFill/>
                  <a:prstDash val="solid"/>
                  <a:miter/>
                </a:ln>
              </p:spPr>
              <p:txBody>
                <a:bodyPr rtlCol="0" anchor="ctr">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sz="1800"/>
                </a:p>
              </p:txBody>
            </p:sp>
            <p:sp>
              <p:nvSpPr>
                <p:cNvPr id="70" name="Freeform: Shape 69">
                  <a:extLst>
                    <a:ext uri="{FF2B5EF4-FFF2-40B4-BE49-F238E27FC236}">
                      <a16:creationId xmlns:a16="http://schemas.microsoft.com/office/drawing/2014/main" id="{11952248-A1D3-46EE-BDF0-E7722EABC3AD}"/>
                    </a:ext>
                  </a:extLst>
                </p:cNvPr>
                <p:cNvSpPr/>
                <p:nvPr/>
              </p:nvSpPr>
              <p:spPr>
                <a:xfrm>
                  <a:off x="4335476" y="452502"/>
                  <a:ext cx="3671350" cy="4103960"/>
                </a:xfrm>
                <a:custGeom>
                  <a:avLst/>
                  <a:gdLst>
                    <a:gd name="connsiteX0" fmla="*/ 3482605 w 3659153"/>
                    <a:gd name="connsiteY0" fmla="*/ 1830742 h 4090327"/>
                    <a:gd name="connsiteX1" fmla="*/ 2151792 w 3659153"/>
                    <a:gd name="connsiteY1" fmla="*/ 0 h 4090327"/>
                    <a:gd name="connsiteX2" fmla="*/ 2014865 w 3659153"/>
                    <a:gd name="connsiteY2" fmla="*/ 188202 h 4090327"/>
                    <a:gd name="connsiteX3" fmla="*/ 1886678 w 3659153"/>
                    <a:gd name="connsiteY3" fmla="*/ 364167 h 4090327"/>
                    <a:gd name="connsiteX4" fmla="*/ 1766649 w 3659153"/>
                    <a:gd name="connsiteY4" fmla="*/ 529062 h 4090327"/>
                    <a:gd name="connsiteX5" fmla="*/ 938678 w 3659153"/>
                    <a:gd name="connsiteY5" fmla="*/ 1670509 h 4090327"/>
                    <a:gd name="connsiteX6" fmla="*/ 0 w 3659153"/>
                    <a:gd name="connsiteY6" fmla="*/ 2962283 h 4090327"/>
                    <a:gd name="connsiteX7" fmla="*/ 0 w 3659153"/>
                    <a:gd name="connsiteY7" fmla="*/ 2962283 h 4090327"/>
                    <a:gd name="connsiteX8" fmla="*/ 1518432 w 3659153"/>
                    <a:gd name="connsiteY8" fmla="*/ 3455803 h 4090327"/>
                    <a:gd name="connsiteX9" fmla="*/ 2859734 w 3659153"/>
                    <a:gd name="connsiteY9" fmla="*/ 3891639 h 4090327"/>
                    <a:gd name="connsiteX10" fmla="*/ 3053762 w 3659153"/>
                    <a:gd name="connsiteY10" fmla="*/ 3954567 h 4090327"/>
                    <a:gd name="connsiteX11" fmla="*/ 3261191 w 3659153"/>
                    <a:gd name="connsiteY11" fmla="*/ 4022156 h 4090327"/>
                    <a:gd name="connsiteX12" fmla="*/ 3482605 w 3659153"/>
                    <a:gd name="connsiteY12" fmla="*/ 4093824 h 4090327"/>
                    <a:gd name="connsiteX13" fmla="*/ 3660902 w 3659153"/>
                    <a:gd name="connsiteY13" fmla="*/ 2962283 h 4090327"/>
                    <a:gd name="connsiteX14" fmla="*/ 3482605 w 3659153"/>
                    <a:gd name="connsiteY14" fmla="*/ 1830742 h 4090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59153" h="4090326">
                      <a:moveTo>
                        <a:pt x="3482605" y="1830742"/>
                      </a:moveTo>
                      <a:cubicBezTo>
                        <a:pt x="3241381" y="1088423"/>
                        <a:pt x="2770003" y="449820"/>
                        <a:pt x="2151792" y="0"/>
                      </a:cubicBezTo>
                      <a:lnTo>
                        <a:pt x="2014865" y="188202"/>
                      </a:lnTo>
                      <a:lnTo>
                        <a:pt x="1886678" y="364167"/>
                      </a:lnTo>
                      <a:lnTo>
                        <a:pt x="1766649" y="529062"/>
                      </a:lnTo>
                      <a:lnTo>
                        <a:pt x="938678" y="1670509"/>
                      </a:lnTo>
                      <a:lnTo>
                        <a:pt x="0" y="2962283"/>
                      </a:lnTo>
                      <a:lnTo>
                        <a:pt x="0" y="2962283"/>
                      </a:lnTo>
                      <a:lnTo>
                        <a:pt x="1518432" y="3455803"/>
                      </a:lnTo>
                      <a:lnTo>
                        <a:pt x="2859734" y="3891639"/>
                      </a:lnTo>
                      <a:lnTo>
                        <a:pt x="3053762" y="3954567"/>
                      </a:lnTo>
                      <a:lnTo>
                        <a:pt x="3261191" y="4022156"/>
                      </a:lnTo>
                      <a:lnTo>
                        <a:pt x="3482605" y="4093824"/>
                      </a:lnTo>
                      <a:cubicBezTo>
                        <a:pt x="3598556" y="3737232"/>
                        <a:pt x="3660902" y="3357332"/>
                        <a:pt x="3660902" y="2962283"/>
                      </a:cubicBezTo>
                      <a:cubicBezTo>
                        <a:pt x="3660902" y="2567234"/>
                        <a:pt x="3598556" y="2186752"/>
                        <a:pt x="3482605" y="1830742"/>
                      </a:cubicBezTo>
                      <a:close/>
                    </a:path>
                  </a:pathLst>
                </a:custGeom>
                <a:solidFill>
                  <a:schemeClr val="accent1">
                    <a:lumMod val="75000"/>
                  </a:schemeClr>
                </a:solidFill>
                <a:ln w="5825" cap="flat">
                  <a:noFill/>
                  <a:prstDash val="solid"/>
                  <a:miter/>
                </a:ln>
              </p:spPr>
              <p:txBody>
                <a:bodyPr rtlCol="0" anchor="ctr">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sz="1800"/>
                </a:p>
              </p:txBody>
            </p:sp>
          </p:grpSp>
          <p:grpSp>
            <p:nvGrpSpPr>
              <p:cNvPr id="15" name="Group 14">
                <a:extLst>
                  <a:ext uri="{FF2B5EF4-FFF2-40B4-BE49-F238E27FC236}">
                    <a16:creationId xmlns:a16="http://schemas.microsoft.com/office/drawing/2014/main" id="{51FBB3AD-8678-42E3-9F4C-63B9781A321C}"/>
                  </a:ext>
                </a:extLst>
              </p:cNvPr>
              <p:cNvGrpSpPr/>
              <p:nvPr/>
            </p:nvGrpSpPr>
            <p:grpSpPr>
              <a:xfrm>
                <a:off x="5252819" y="2693323"/>
                <a:ext cx="1466496" cy="1466496"/>
                <a:chOff x="3554272" y="2695752"/>
                <a:chExt cx="1466496" cy="1466496"/>
              </a:xfrm>
            </p:grpSpPr>
            <p:sp>
              <p:nvSpPr>
                <p:cNvPr id="22" name="Oval 21">
                  <a:extLst>
                    <a:ext uri="{FF2B5EF4-FFF2-40B4-BE49-F238E27FC236}">
                      <a16:creationId xmlns:a16="http://schemas.microsoft.com/office/drawing/2014/main" id="{F24A46B7-E2D5-47EE-80E3-8429608F6A08}"/>
                    </a:ext>
                  </a:extLst>
                </p:cNvPr>
                <p:cNvSpPr/>
                <p:nvPr/>
              </p:nvSpPr>
              <p:spPr>
                <a:xfrm>
                  <a:off x="3554272" y="2695752"/>
                  <a:ext cx="1466496" cy="1466496"/>
                </a:xfrm>
                <a:prstGeom prst="ellipse">
                  <a:avLst/>
                </a:prstGeom>
                <a:solidFill>
                  <a:schemeClr val="bg1">
                    <a:alpha val="30000"/>
                  </a:schemeClr>
                </a:solidFill>
                <a:ln>
                  <a:noFill/>
                </a:ln>
              </p:spPr>
              <p:txBody>
                <a:bodyPr vert="horz" wrap="square" lIns="51435" tIns="25718" rIns="51435" bIns="25718"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sz="1100"/>
                </a:p>
              </p:txBody>
            </p:sp>
            <p:sp>
              <p:nvSpPr>
                <p:cNvPr id="23" name="Freeform: Shape 22">
                  <a:extLst>
                    <a:ext uri="{FF2B5EF4-FFF2-40B4-BE49-F238E27FC236}">
                      <a16:creationId xmlns:a16="http://schemas.microsoft.com/office/drawing/2014/main" id="{83F422F9-9CF9-4C3C-AD83-026B4449C209}"/>
                    </a:ext>
                  </a:extLst>
                </p:cNvPr>
                <p:cNvSpPr/>
                <p:nvPr/>
              </p:nvSpPr>
              <p:spPr>
                <a:xfrm rot="9122064">
                  <a:off x="3750102" y="2891583"/>
                  <a:ext cx="1074835" cy="1074835"/>
                </a:xfrm>
                <a:custGeom>
                  <a:avLst/>
                  <a:gdLst>
                    <a:gd name="connsiteX0" fmla="*/ 2893136 w 2893136"/>
                    <a:gd name="connsiteY0" fmla="*/ 1446568 h 2893136"/>
                    <a:gd name="connsiteX1" fmla="*/ 1446568 w 2893136"/>
                    <a:gd name="connsiteY1" fmla="*/ 2893136 h 2893136"/>
                    <a:gd name="connsiteX2" fmla="*/ 0 w 2893136"/>
                    <a:gd name="connsiteY2" fmla="*/ 1446568 h 2893136"/>
                    <a:gd name="connsiteX3" fmla="*/ 1446568 w 2893136"/>
                    <a:gd name="connsiteY3" fmla="*/ 0 h 2893136"/>
                    <a:gd name="connsiteX4" fmla="*/ 2893136 w 2893136"/>
                    <a:gd name="connsiteY4" fmla="*/ 1446568 h 28931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93136" h="2893136">
                      <a:moveTo>
                        <a:pt x="2893136" y="1446568"/>
                      </a:moveTo>
                      <a:cubicBezTo>
                        <a:pt x="2893136" y="2245486"/>
                        <a:pt x="2245486" y="2893136"/>
                        <a:pt x="1446568" y="2893136"/>
                      </a:cubicBezTo>
                      <a:cubicBezTo>
                        <a:pt x="647650" y="2893136"/>
                        <a:pt x="0" y="2245486"/>
                        <a:pt x="0" y="1446568"/>
                      </a:cubicBezTo>
                      <a:cubicBezTo>
                        <a:pt x="0" y="647651"/>
                        <a:pt x="647650" y="0"/>
                        <a:pt x="1446568" y="0"/>
                      </a:cubicBezTo>
                      <a:cubicBezTo>
                        <a:pt x="2245486" y="0"/>
                        <a:pt x="2893136" y="647651"/>
                        <a:pt x="2893136" y="1446568"/>
                      </a:cubicBezTo>
                      <a:close/>
                    </a:path>
                  </a:pathLst>
                </a:custGeom>
                <a:solidFill>
                  <a:srgbClr val="FFFFFF"/>
                </a:solidFill>
                <a:ln w="5273" cap="flat">
                  <a:noFill/>
                  <a:prstDash val="solid"/>
                  <a:miter/>
                </a:ln>
              </p:spPr>
              <p:txBody>
                <a:bodyPr rtlCol="0" anchor="ctr">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sz="1800"/>
                </a:p>
              </p:txBody>
            </p:sp>
          </p:grpSp>
        </p:grpSp>
        <p:sp>
          <p:nvSpPr>
            <p:cNvPr id="16" name="TextBox 15">
              <a:extLst>
                <a:ext uri="{FF2B5EF4-FFF2-40B4-BE49-F238E27FC236}">
                  <a16:creationId xmlns:a16="http://schemas.microsoft.com/office/drawing/2014/main" id="{E10A1A20-3181-453F-B668-5EDE425BC0B8}"/>
                </a:ext>
              </a:extLst>
            </p:cNvPr>
            <p:cNvSpPr txBox="1"/>
            <p:nvPr/>
          </p:nvSpPr>
          <p:spPr>
            <a:xfrm rot="20312620">
              <a:off x="5623729" y="2093191"/>
              <a:ext cx="692332" cy="644860"/>
            </a:xfrm>
            <a:prstGeom prst="rect">
              <a:avLst/>
            </a:prstGeom>
            <a:noFill/>
          </p:spPr>
          <p:txBody>
            <a:bodyPr wrap="none" rtlCol="0" anchor="ctr">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sz="2800" b="1">
                  <a:solidFill>
                    <a:schemeClr val="bg1"/>
                  </a:solidFill>
                </a:rPr>
                <a:t>01</a:t>
              </a:r>
            </a:p>
          </p:txBody>
        </p:sp>
        <p:sp>
          <p:nvSpPr>
            <p:cNvPr id="17" name="TextBox 16">
              <a:extLst>
                <a:ext uri="{FF2B5EF4-FFF2-40B4-BE49-F238E27FC236}">
                  <a16:creationId xmlns:a16="http://schemas.microsoft.com/office/drawing/2014/main" id="{7203459E-8B2B-491D-AD73-B778B91E8506}"/>
                </a:ext>
              </a:extLst>
            </p:cNvPr>
            <p:cNvSpPr txBox="1"/>
            <p:nvPr/>
          </p:nvSpPr>
          <p:spPr>
            <a:xfrm rot="20312620">
              <a:off x="5033108" y="3896224"/>
              <a:ext cx="692332" cy="644860"/>
            </a:xfrm>
            <a:prstGeom prst="rect">
              <a:avLst/>
            </a:prstGeom>
            <a:noFill/>
          </p:spPr>
          <p:txBody>
            <a:bodyPr wrap="none" rtlCol="0" anchor="ctr">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sz="2800" b="1">
                  <a:solidFill>
                    <a:schemeClr val="bg1"/>
                  </a:solidFill>
                </a:rPr>
                <a:t>04</a:t>
              </a:r>
            </a:p>
          </p:txBody>
        </p:sp>
        <p:sp>
          <p:nvSpPr>
            <p:cNvPr id="20" name="TextBox 19">
              <a:extLst>
                <a:ext uri="{FF2B5EF4-FFF2-40B4-BE49-F238E27FC236}">
                  <a16:creationId xmlns:a16="http://schemas.microsoft.com/office/drawing/2014/main" id="{0D216A86-AB7F-4532-ABC8-793B986623E9}"/>
                </a:ext>
              </a:extLst>
            </p:cNvPr>
            <p:cNvSpPr txBox="1"/>
            <p:nvPr/>
          </p:nvSpPr>
          <p:spPr>
            <a:xfrm rot="20312620">
              <a:off x="6246809" y="3969723"/>
              <a:ext cx="692332" cy="644860"/>
            </a:xfrm>
            <a:prstGeom prst="rect">
              <a:avLst/>
            </a:prstGeom>
            <a:noFill/>
          </p:spPr>
          <p:txBody>
            <a:bodyPr wrap="none" rtlCol="0" anchor="ctr">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sz="2800" b="1" dirty="0">
                  <a:solidFill>
                    <a:schemeClr val="bg1"/>
                  </a:solidFill>
                </a:rPr>
                <a:t>03</a:t>
              </a:r>
            </a:p>
          </p:txBody>
        </p:sp>
        <p:sp>
          <p:nvSpPr>
            <p:cNvPr id="18" name="TextBox 17">
              <a:extLst>
                <a:ext uri="{FF2B5EF4-FFF2-40B4-BE49-F238E27FC236}">
                  <a16:creationId xmlns:a16="http://schemas.microsoft.com/office/drawing/2014/main" id="{E9FC2168-2959-4797-83B5-F6A5D8044438}"/>
                </a:ext>
              </a:extLst>
            </p:cNvPr>
            <p:cNvSpPr txBox="1"/>
            <p:nvPr/>
          </p:nvSpPr>
          <p:spPr>
            <a:xfrm rot="20312620">
              <a:off x="6789591" y="2755735"/>
              <a:ext cx="692332" cy="644860"/>
            </a:xfrm>
            <a:prstGeom prst="rect">
              <a:avLst/>
            </a:prstGeom>
            <a:noFill/>
          </p:spPr>
          <p:txBody>
            <a:bodyPr wrap="none" rtlCol="0" anchor="ctr">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sz="2800" b="1">
                  <a:solidFill>
                    <a:schemeClr val="bg1"/>
                  </a:solidFill>
                </a:rPr>
                <a:t>02</a:t>
              </a:r>
            </a:p>
          </p:txBody>
        </p:sp>
        <p:sp>
          <p:nvSpPr>
            <p:cNvPr id="21" name="TextBox 20">
              <a:extLst>
                <a:ext uri="{FF2B5EF4-FFF2-40B4-BE49-F238E27FC236}">
                  <a16:creationId xmlns:a16="http://schemas.microsoft.com/office/drawing/2014/main" id="{B0EF97E0-D92B-4459-83D8-A1D2F756B58A}"/>
                </a:ext>
              </a:extLst>
            </p:cNvPr>
            <p:cNvSpPr txBox="1"/>
            <p:nvPr/>
          </p:nvSpPr>
          <p:spPr>
            <a:xfrm rot="20312620">
              <a:off x="4693443" y="2783358"/>
              <a:ext cx="692332" cy="644860"/>
            </a:xfrm>
            <a:prstGeom prst="rect">
              <a:avLst/>
            </a:prstGeom>
            <a:noFill/>
          </p:spPr>
          <p:txBody>
            <a:bodyPr wrap="none" rtlCol="0" anchor="ctr">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sz="2800" b="1">
                  <a:solidFill>
                    <a:schemeClr val="bg1"/>
                  </a:solidFill>
                </a:rPr>
                <a:t>05</a:t>
              </a:r>
            </a:p>
          </p:txBody>
        </p:sp>
      </p:grpSp>
      <p:sp>
        <p:nvSpPr>
          <p:cNvPr id="38" name="TextBox 37">
            <a:extLst>
              <a:ext uri="{FF2B5EF4-FFF2-40B4-BE49-F238E27FC236}">
                <a16:creationId xmlns:a16="http://schemas.microsoft.com/office/drawing/2014/main" id="{215A6651-B0EF-4FFF-8AFB-FC46957DC93B}"/>
              </a:ext>
            </a:extLst>
          </p:cNvPr>
          <p:cNvSpPr txBox="1"/>
          <p:nvPr/>
        </p:nvSpPr>
        <p:spPr>
          <a:xfrm>
            <a:off x="7687500" y="1680238"/>
            <a:ext cx="3060000" cy="215444"/>
          </a:xfrm>
          <a:prstGeom prst="rect">
            <a:avLst/>
          </a:prstGeom>
          <a:noFill/>
        </p:spPr>
        <p:txBody>
          <a:bodyPr wrap="square" lIns="0" tIns="0" rIns="0" bIns="0" rtlCol="0" anchor="ctr">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en-US" sz="2000" b="1" dirty="0" err="1"/>
              <a:t>Uniconta</a:t>
            </a:r>
            <a:endParaRPr lang="en-US" sz="2000" b="1" dirty="0"/>
          </a:p>
        </p:txBody>
      </p:sp>
      <p:grpSp>
        <p:nvGrpSpPr>
          <p:cNvPr id="2" name="Group 1">
            <a:extLst>
              <a:ext uri="{FF2B5EF4-FFF2-40B4-BE49-F238E27FC236}">
                <a16:creationId xmlns:a16="http://schemas.microsoft.com/office/drawing/2014/main" id="{5754FD24-8259-4DB4-AB44-772B37B0840C}"/>
              </a:ext>
            </a:extLst>
          </p:cNvPr>
          <p:cNvGrpSpPr/>
          <p:nvPr/>
        </p:nvGrpSpPr>
        <p:grpSpPr>
          <a:xfrm>
            <a:off x="3573782" y="1807029"/>
            <a:ext cx="5074918" cy="3709848"/>
            <a:chOff x="2049782" y="1349831"/>
            <a:chExt cx="5074918" cy="3709848"/>
          </a:xfrm>
        </p:grpSpPr>
        <p:cxnSp>
          <p:nvCxnSpPr>
            <p:cNvPr id="53" name="Connector: Elbow 52">
              <a:extLst>
                <a:ext uri="{FF2B5EF4-FFF2-40B4-BE49-F238E27FC236}">
                  <a16:creationId xmlns:a16="http://schemas.microsoft.com/office/drawing/2014/main" id="{04F644F2-E416-4143-B7F4-C607FEF5FA0D}"/>
                </a:ext>
              </a:extLst>
            </p:cNvPr>
            <p:cNvCxnSpPr>
              <a:cxnSpLocks/>
            </p:cNvCxnSpPr>
            <p:nvPr/>
          </p:nvCxnSpPr>
          <p:spPr>
            <a:xfrm flipV="1">
              <a:off x="4914900" y="1349831"/>
              <a:ext cx="1125417" cy="610272"/>
            </a:xfrm>
            <a:prstGeom prst="bentConnector3">
              <a:avLst>
                <a:gd name="adj1" fmla="val 1637"/>
              </a:avLst>
            </a:prstGeom>
            <a:ln>
              <a:solidFill>
                <a:schemeClr val="bg1">
                  <a:lumMod val="95000"/>
                </a:schemeClr>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E3F30001-18BA-4FE9-9D51-5352F17E2768}"/>
                </a:ext>
              </a:extLst>
            </p:cNvPr>
            <p:cNvCxnSpPr/>
            <p:nvPr/>
          </p:nvCxnSpPr>
          <p:spPr>
            <a:xfrm>
              <a:off x="2049782" y="2141524"/>
              <a:ext cx="1139690" cy="0"/>
            </a:xfrm>
            <a:prstGeom prst="line">
              <a:avLst/>
            </a:prstGeom>
            <a:ln>
              <a:solidFill>
                <a:schemeClr val="bg1">
                  <a:lumMod val="95000"/>
                </a:schemeClr>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D32EFC74-ADC9-488A-BC2D-683386B75E27}"/>
                </a:ext>
              </a:extLst>
            </p:cNvPr>
            <p:cNvCxnSpPr/>
            <p:nvPr/>
          </p:nvCxnSpPr>
          <p:spPr>
            <a:xfrm>
              <a:off x="2049782" y="3590855"/>
              <a:ext cx="1346178" cy="0"/>
            </a:xfrm>
            <a:prstGeom prst="line">
              <a:avLst/>
            </a:prstGeom>
            <a:ln>
              <a:solidFill>
                <a:schemeClr val="bg1">
                  <a:lumMod val="95000"/>
                </a:schemeClr>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06D5781D-F107-4233-902F-20F3063E84AF}"/>
                </a:ext>
              </a:extLst>
            </p:cNvPr>
            <p:cNvCxnSpPr/>
            <p:nvPr/>
          </p:nvCxnSpPr>
          <p:spPr>
            <a:xfrm flipH="1">
              <a:off x="5982885" y="2935248"/>
              <a:ext cx="1141815" cy="0"/>
            </a:xfrm>
            <a:prstGeom prst="line">
              <a:avLst/>
            </a:prstGeom>
            <a:ln>
              <a:solidFill>
                <a:schemeClr val="bg1">
                  <a:lumMod val="95000"/>
                </a:schemeClr>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64" name="Connector: Elbow 63">
              <a:extLst>
                <a:ext uri="{FF2B5EF4-FFF2-40B4-BE49-F238E27FC236}">
                  <a16:creationId xmlns:a16="http://schemas.microsoft.com/office/drawing/2014/main" id="{FC4447F5-6FCC-48C9-8008-455D8D6C2952}"/>
                </a:ext>
              </a:extLst>
            </p:cNvPr>
            <p:cNvCxnSpPr/>
            <p:nvPr/>
          </p:nvCxnSpPr>
          <p:spPr>
            <a:xfrm rot="5400000">
              <a:off x="3222727" y="3563608"/>
              <a:ext cx="323126" cy="2669016"/>
            </a:xfrm>
            <a:prstGeom prst="bentConnector2">
              <a:avLst/>
            </a:prstGeom>
            <a:ln>
              <a:solidFill>
                <a:schemeClr val="bg1">
                  <a:lumMod val="95000"/>
                </a:schemeClr>
              </a:solidFill>
              <a:headEnd type="oval"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7" name="Title 6">
            <a:extLst>
              <a:ext uri="{FF2B5EF4-FFF2-40B4-BE49-F238E27FC236}">
                <a16:creationId xmlns:a16="http://schemas.microsoft.com/office/drawing/2014/main" id="{83A4EEF4-AA44-FCE7-6965-EB6A3C225579}"/>
              </a:ext>
            </a:extLst>
          </p:cNvPr>
          <p:cNvSpPr>
            <a:spLocks noGrp="1"/>
          </p:cNvSpPr>
          <p:nvPr>
            <p:ph type="title"/>
          </p:nvPr>
        </p:nvSpPr>
        <p:spPr/>
        <p:txBody>
          <a:bodyPr/>
          <a:lstStyle/>
          <a:p>
            <a:r>
              <a:rPr lang="en-US" dirty="0" err="1"/>
              <a:t>Kassereren</a:t>
            </a:r>
            <a:r>
              <a:rPr lang="en-US" dirty="0"/>
              <a:t> </a:t>
            </a:r>
            <a:r>
              <a:rPr lang="en-US" dirty="0" err="1"/>
              <a:t>skal</a:t>
            </a:r>
            <a:r>
              <a:rPr lang="en-US" dirty="0"/>
              <a:t> have </a:t>
            </a:r>
            <a:r>
              <a:rPr lang="en-US" dirty="0" err="1"/>
              <a:t>adgang</a:t>
            </a:r>
            <a:r>
              <a:rPr lang="en-US" dirty="0"/>
              <a:t> </a:t>
            </a:r>
            <a:r>
              <a:rPr lang="en-US" dirty="0" err="1"/>
              <a:t>til</a:t>
            </a:r>
            <a:endParaRPr lang="da-DK" dirty="0"/>
          </a:p>
        </p:txBody>
      </p:sp>
      <p:sp>
        <p:nvSpPr>
          <p:cNvPr id="8" name="TextBox 7">
            <a:extLst>
              <a:ext uri="{FF2B5EF4-FFF2-40B4-BE49-F238E27FC236}">
                <a16:creationId xmlns:a16="http://schemas.microsoft.com/office/drawing/2014/main" id="{B1D8F1B2-406C-D8F1-7BBC-2425D251CE75}"/>
              </a:ext>
            </a:extLst>
          </p:cNvPr>
          <p:cNvSpPr txBox="1"/>
          <p:nvPr/>
        </p:nvSpPr>
        <p:spPr>
          <a:xfrm>
            <a:off x="8868056" y="3280547"/>
            <a:ext cx="3060000" cy="215444"/>
          </a:xfrm>
          <a:prstGeom prst="rect">
            <a:avLst/>
          </a:prstGeom>
          <a:noFill/>
        </p:spPr>
        <p:txBody>
          <a:bodyPr wrap="square" lIns="0" tIns="0" rIns="0" bIns="0" rtlCol="0" anchor="ctr">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en-US" sz="2000" b="1" dirty="0"/>
              <a:t>Bank</a:t>
            </a:r>
          </a:p>
        </p:txBody>
      </p:sp>
      <p:sp>
        <p:nvSpPr>
          <p:cNvPr id="9" name="TextBox 8">
            <a:extLst>
              <a:ext uri="{FF2B5EF4-FFF2-40B4-BE49-F238E27FC236}">
                <a16:creationId xmlns:a16="http://schemas.microsoft.com/office/drawing/2014/main" id="{ED8622F4-20E7-49B6-3787-CEA6A218A470}"/>
              </a:ext>
            </a:extLst>
          </p:cNvPr>
          <p:cNvSpPr txBox="1"/>
          <p:nvPr/>
        </p:nvSpPr>
        <p:spPr>
          <a:xfrm>
            <a:off x="984748" y="5409155"/>
            <a:ext cx="3060000" cy="215444"/>
          </a:xfrm>
          <a:prstGeom prst="rect">
            <a:avLst/>
          </a:prstGeom>
          <a:noFill/>
        </p:spPr>
        <p:txBody>
          <a:bodyPr wrap="square" lIns="0" tIns="0" rIns="0" bIns="0" rtlCol="0" anchor="ctr">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r>
              <a:rPr lang="en-US" sz="2000" b="1" dirty="0"/>
              <a:t>Nets</a:t>
            </a:r>
          </a:p>
        </p:txBody>
      </p:sp>
      <p:sp>
        <p:nvSpPr>
          <p:cNvPr id="10" name="TextBox 9">
            <a:extLst>
              <a:ext uri="{FF2B5EF4-FFF2-40B4-BE49-F238E27FC236}">
                <a16:creationId xmlns:a16="http://schemas.microsoft.com/office/drawing/2014/main" id="{5B160FE2-684F-78CF-8953-41AE848FD8CA}"/>
              </a:ext>
            </a:extLst>
          </p:cNvPr>
          <p:cNvSpPr txBox="1"/>
          <p:nvPr/>
        </p:nvSpPr>
        <p:spPr>
          <a:xfrm>
            <a:off x="269899" y="3931523"/>
            <a:ext cx="3060000" cy="215444"/>
          </a:xfrm>
          <a:prstGeom prst="rect">
            <a:avLst/>
          </a:prstGeom>
          <a:noFill/>
        </p:spPr>
        <p:txBody>
          <a:bodyPr wrap="square" lIns="0" tIns="0" rIns="0" bIns="0" rtlCol="0" anchor="ctr">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r>
              <a:rPr lang="en-US" sz="2000" b="1" dirty="0" err="1"/>
              <a:t>MobilePay</a:t>
            </a:r>
            <a:endParaRPr lang="en-US" sz="2000" b="1" dirty="0"/>
          </a:p>
        </p:txBody>
      </p:sp>
      <p:sp>
        <p:nvSpPr>
          <p:cNvPr id="11" name="TextBox 10">
            <a:extLst>
              <a:ext uri="{FF2B5EF4-FFF2-40B4-BE49-F238E27FC236}">
                <a16:creationId xmlns:a16="http://schemas.microsoft.com/office/drawing/2014/main" id="{5323E62D-6612-B43B-47CE-4595AB963946}"/>
              </a:ext>
            </a:extLst>
          </p:cNvPr>
          <p:cNvSpPr txBox="1"/>
          <p:nvPr/>
        </p:nvSpPr>
        <p:spPr>
          <a:xfrm>
            <a:off x="566171" y="2487939"/>
            <a:ext cx="3060000" cy="215444"/>
          </a:xfrm>
          <a:prstGeom prst="rect">
            <a:avLst/>
          </a:prstGeom>
          <a:noFill/>
        </p:spPr>
        <p:txBody>
          <a:bodyPr wrap="square" lIns="0" tIns="0" rIns="0" bIns="0" rtlCol="0" anchor="ctr">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r>
              <a:rPr lang="en-US" sz="2000" b="1" dirty="0" err="1"/>
              <a:t>FlexPOS</a:t>
            </a:r>
            <a:endParaRPr lang="en-US" sz="2000" b="1" dirty="0"/>
          </a:p>
          <a:p>
            <a:pPr algn="r"/>
            <a:r>
              <a:rPr lang="en-US" sz="2000" b="1" dirty="0"/>
              <a:t>BackOffice</a:t>
            </a:r>
          </a:p>
        </p:txBody>
      </p:sp>
      <p:sp>
        <p:nvSpPr>
          <p:cNvPr id="12" name="Footer Placeholder 3">
            <a:extLst>
              <a:ext uri="{FF2B5EF4-FFF2-40B4-BE49-F238E27FC236}">
                <a16:creationId xmlns:a16="http://schemas.microsoft.com/office/drawing/2014/main" id="{EF8F9C31-09E1-E63E-29E7-DA4D9466AD71}"/>
              </a:ext>
            </a:extLst>
          </p:cNvPr>
          <p:cNvSpPr>
            <a:spLocks noGrp="1"/>
          </p:cNvSpPr>
          <p:nvPr>
            <p:ph type="ftr" sz="quarter" idx="11"/>
          </p:nvPr>
        </p:nvSpPr>
        <p:spPr>
          <a:xfrm>
            <a:off x="838199" y="6413500"/>
            <a:ext cx="10515599" cy="237600"/>
          </a:xfrm>
        </p:spPr>
        <p:txBody>
          <a:bodyPr/>
          <a:lstStyle/>
          <a:p>
            <a:r>
              <a:rPr lang="da-DK" noProof="0" dirty="0"/>
              <a:t>RØDE KORS / Introduktionskursus for nye kasserere / 2025</a:t>
            </a:r>
          </a:p>
        </p:txBody>
      </p:sp>
    </p:spTree>
    <p:custDataLst>
      <p:tags r:id="rId1"/>
    </p:custDataLst>
    <p:extLst>
      <p:ext uri="{BB962C8B-B14F-4D97-AF65-F5344CB8AC3E}">
        <p14:creationId xmlns:p14="http://schemas.microsoft.com/office/powerpoint/2010/main" val="19071789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6155758-A851-4999-B50E-F48A852329AE}"/>
              </a:ext>
            </a:extLst>
          </p:cNvPr>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27" imgH="327" progId="TCLayout.ActiveDocument.1">
                  <p:embed/>
                </p:oleObj>
              </mc:Choice>
              <mc:Fallback>
                <p:oleObj name="think-cell Slide" r:id="rId5" imgW="327" imgH="327" progId="TCLayout.ActiveDocument.1">
                  <p:embed/>
                  <p:pic>
                    <p:nvPicPr>
                      <p:cNvPr id="2" name="Object 1" hidden="1">
                        <a:extLst>
                          <a:ext uri="{FF2B5EF4-FFF2-40B4-BE49-F238E27FC236}">
                            <a16:creationId xmlns:a16="http://schemas.microsoft.com/office/drawing/2014/main" id="{66155758-A851-4999-B50E-F48A852329AE}"/>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grpSp>
        <p:nvGrpSpPr>
          <p:cNvPr id="21" name="Group 20">
            <a:extLst>
              <a:ext uri="{FF2B5EF4-FFF2-40B4-BE49-F238E27FC236}">
                <a16:creationId xmlns:a16="http://schemas.microsoft.com/office/drawing/2014/main" id="{B16A5B3C-F430-4D38-BF7A-A40D35FC86FB}"/>
              </a:ext>
            </a:extLst>
          </p:cNvPr>
          <p:cNvGrpSpPr/>
          <p:nvPr/>
        </p:nvGrpSpPr>
        <p:grpSpPr>
          <a:xfrm>
            <a:off x="565429" y="1974763"/>
            <a:ext cx="11061141" cy="3606326"/>
            <a:chOff x="-804458" y="1911108"/>
            <a:chExt cx="10289225" cy="3354653"/>
          </a:xfrm>
        </p:grpSpPr>
        <p:cxnSp>
          <p:nvCxnSpPr>
            <p:cNvPr id="3" name="Straight Connector 2">
              <a:extLst>
                <a:ext uri="{FF2B5EF4-FFF2-40B4-BE49-F238E27FC236}">
                  <a16:creationId xmlns:a16="http://schemas.microsoft.com/office/drawing/2014/main" id="{48BA345B-3143-4823-9497-317E1EAA27F2}"/>
                </a:ext>
              </a:extLst>
            </p:cNvPr>
            <p:cNvCxnSpPr>
              <a:cxnSpLocks/>
            </p:cNvCxnSpPr>
            <p:nvPr/>
          </p:nvCxnSpPr>
          <p:spPr>
            <a:xfrm>
              <a:off x="-804458" y="3457575"/>
              <a:ext cx="10249873" cy="14148"/>
            </a:xfrm>
            <a:prstGeom prst="line">
              <a:avLst/>
            </a:prstGeom>
            <a:ln w="381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22" name="Hexagon 3">
              <a:extLst>
                <a:ext uri="{FF2B5EF4-FFF2-40B4-BE49-F238E27FC236}">
                  <a16:creationId xmlns:a16="http://schemas.microsoft.com/office/drawing/2014/main" id="{CB1164FE-B7BD-4B5A-9B8E-BAF6C29FBC63}"/>
                </a:ext>
              </a:extLst>
            </p:cNvPr>
            <p:cNvSpPr/>
            <p:nvPr/>
          </p:nvSpPr>
          <p:spPr>
            <a:xfrm>
              <a:off x="508000" y="3113547"/>
              <a:ext cx="762001" cy="679010"/>
            </a:xfrm>
            <a:prstGeom prst="hexagon">
              <a:avLst>
                <a:gd name="adj" fmla="val 26695"/>
                <a:gd name="vf" fmla="val 11547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9pPr>
            </a:lstStyle>
            <a:p>
              <a:pPr algn="ctr"/>
              <a:r>
                <a:rPr lang="pt-PT" sz="1800" b="1">
                  <a:solidFill>
                    <a:schemeClr val="bg1"/>
                  </a:solidFill>
                </a:rPr>
                <a:t>A</a:t>
              </a:r>
              <a:endParaRPr lang="en-US" sz="1800" b="1">
                <a:solidFill>
                  <a:schemeClr val="bg1"/>
                </a:solidFill>
              </a:endParaRPr>
            </a:p>
          </p:txBody>
        </p:sp>
        <p:sp>
          <p:nvSpPr>
            <p:cNvPr id="5" name="Hexagon 4">
              <a:extLst>
                <a:ext uri="{FF2B5EF4-FFF2-40B4-BE49-F238E27FC236}">
                  <a16:creationId xmlns:a16="http://schemas.microsoft.com/office/drawing/2014/main" id="{D9E7083B-7DB4-4CDC-8197-0FAAA4A7AF56}"/>
                </a:ext>
              </a:extLst>
            </p:cNvPr>
            <p:cNvSpPr/>
            <p:nvPr/>
          </p:nvSpPr>
          <p:spPr>
            <a:xfrm>
              <a:off x="3831676" y="3132218"/>
              <a:ext cx="762001" cy="679010"/>
            </a:xfrm>
            <a:prstGeom prst="hexagon">
              <a:avLst>
                <a:gd name="adj" fmla="val 26695"/>
                <a:gd name="vf" fmla="val 11547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9pPr>
            </a:lstStyle>
            <a:p>
              <a:pPr algn="ctr"/>
              <a:r>
                <a:rPr lang="pt-PT" sz="1800" b="1">
                  <a:solidFill>
                    <a:schemeClr val="bg1"/>
                  </a:solidFill>
                </a:rPr>
                <a:t>B</a:t>
              </a:r>
              <a:endParaRPr lang="en-US" sz="1800" b="1">
                <a:solidFill>
                  <a:schemeClr val="bg1"/>
                </a:solidFill>
              </a:endParaRPr>
            </a:p>
          </p:txBody>
        </p:sp>
        <p:sp>
          <p:nvSpPr>
            <p:cNvPr id="6" name="Hexagon 5">
              <a:extLst>
                <a:ext uri="{FF2B5EF4-FFF2-40B4-BE49-F238E27FC236}">
                  <a16:creationId xmlns:a16="http://schemas.microsoft.com/office/drawing/2014/main" id="{CD7AF2F0-80DA-4FE0-B34B-D3C3A8117B0C}"/>
                </a:ext>
              </a:extLst>
            </p:cNvPr>
            <p:cNvSpPr/>
            <p:nvPr/>
          </p:nvSpPr>
          <p:spPr>
            <a:xfrm>
              <a:off x="7155353" y="3119771"/>
              <a:ext cx="762001" cy="679010"/>
            </a:xfrm>
            <a:prstGeom prst="hexagon">
              <a:avLst>
                <a:gd name="adj" fmla="val 26695"/>
                <a:gd name="vf" fmla="val 11547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9pPr>
            </a:lstStyle>
            <a:p>
              <a:pPr algn="ctr"/>
              <a:r>
                <a:rPr lang="pt-PT" sz="1800" b="1">
                  <a:solidFill>
                    <a:schemeClr val="bg1"/>
                  </a:solidFill>
                </a:rPr>
                <a:t>C</a:t>
              </a:r>
              <a:endParaRPr lang="en-US" sz="1800" b="1">
                <a:solidFill>
                  <a:schemeClr val="bg1"/>
                </a:solidFill>
              </a:endParaRPr>
            </a:p>
          </p:txBody>
        </p:sp>
        <p:grpSp>
          <p:nvGrpSpPr>
            <p:cNvPr id="9" name="Group 8">
              <a:extLst>
                <a:ext uri="{FF2B5EF4-FFF2-40B4-BE49-F238E27FC236}">
                  <a16:creationId xmlns:a16="http://schemas.microsoft.com/office/drawing/2014/main" id="{5DA93AA5-D3AB-40AF-9F18-E3B7FB5A36F0}"/>
                </a:ext>
              </a:extLst>
            </p:cNvPr>
            <p:cNvGrpSpPr/>
            <p:nvPr/>
          </p:nvGrpSpPr>
          <p:grpSpPr>
            <a:xfrm>
              <a:off x="889001" y="3811228"/>
              <a:ext cx="1460805" cy="1150292"/>
              <a:chOff x="1250131" y="3741911"/>
              <a:chExt cx="1330270" cy="1091163"/>
            </a:xfrm>
          </p:grpSpPr>
          <p:cxnSp>
            <p:nvCxnSpPr>
              <p:cNvPr id="39" name="Straight Connector 38">
                <a:extLst>
                  <a:ext uri="{FF2B5EF4-FFF2-40B4-BE49-F238E27FC236}">
                    <a16:creationId xmlns:a16="http://schemas.microsoft.com/office/drawing/2014/main" id="{9BA7058B-A363-4951-9D73-0B8902F80357}"/>
                  </a:ext>
                </a:extLst>
              </p:cNvPr>
              <p:cNvCxnSpPr/>
              <p:nvPr/>
            </p:nvCxnSpPr>
            <p:spPr>
              <a:xfrm flipH="1">
                <a:off x="1250131" y="3741911"/>
                <a:ext cx="0" cy="250667"/>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32AED7D3-9F61-405F-B986-78EB171F1C1C}"/>
                  </a:ext>
                </a:extLst>
              </p:cNvPr>
              <p:cNvCxnSpPr>
                <a:cxnSpLocks/>
                <a:endCxn id="11" idx="4"/>
              </p:cNvCxnSpPr>
              <p:nvPr/>
            </p:nvCxnSpPr>
            <p:spPr>
              <a:xfrm>
                <a:off x="1250131" y="3992578"/>
                <a:ext cx="1330270" cy="840496"/>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C21FD931-34A3-4B5E-B400-8AE724AA4CA3}"/>
                </a:ext>
              </a:extLst>
            </p:cNvPr>
            <p:cNvGrpSpPr/>
            <p:nvPr/>
          </p:nvGrpSpPr>
          <p:grpSpPr>
            <a:xfrm flipH="1">
              <a:off x="2755287" y="3845317"/>
              <a:ext cx="1438234" cy="1109069"/>
              <a:chOff x="-372509" y="3754968"/>
              <a:chExt cx="1630229" cy="1204847"/>
            </a:xfrm>
          </p:grpSpPr>
          <p:cxnSp>
            <p:nvCxnSpPr>
              <p:cNvPr id="37" name="Straight Connector 36">
                <a:extLst>
                  <a:ext uri="{FF2B5EF4-FFF2-40B4-BE49-F238E27FC236}">
                    <a16:creationId xmlns:a16="http://schemas.microsoft.com/office/drawing/2014/main" id="{8319C8D9-4453-4B4F-95EF-7B3271794314}"/>
                  </a:ext>
                </a:extLst>
              </p:cNvPr>
              <p:cNvCxnSpPr/>
              <p:nvPr/>
            </p:nvCxnSpPr>
            <p:spPr>
              <a:xfrm flipH="1">
                <a:off x="-372509" y="3754968"/>
                <a:ext cx="0" cy="250038"/>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DADFDD6-F79C-482D-8E32-FB610F95CD88}"/>
                  </a:ext>
                </a:extLst>
              </p:cNvPr>
              <p:cNvCxnSpPr>
                <a:cxnSpLocks/>
                <a:endCxn id="11" idx="0"/>
              </p:cNvCxnSpPr>
              <p:nvPr/>
            </p:nvCxnSpPr>
            <p:spPr>
              <a:xfrm>
                <a:off x="-372507" y="4005007"/>
                <a:ext cx="1630227" cy="954808"/>
              </a:xfrm>
              <a:prstGeom prst="line">
                <a:avLst/>
              </a:prstGeom>
              <a:ln w="19050">
                <a:solidFill>
                  <a:schemeClr val="accent1"/>
                </a:solidFill>
                <a:prstDash val="dash"/>
              </a:ln>
            </p:spPr>
            <p:style>
              <a:lnRef idx="1">
                <a:schemeClr val="accent1"/>
              </a:lnRef>
              <a:fillRef idx="0">
                <a:schemeClr val="accent1"/>
              </a:fillRef>
              <a:effectRef idx="0">
                <a:schemeClr val="accent1"/>
              </a:effectRef>
              <a:fontRef idx="minor">
                <a:schemeClr val="tx1"/>
              </a:fontRef>
            </p:style>
          </p:cxnSp>
        </p:grpSp>
        <p:sp>
          <p:nvSpPr>
            <p:cNvPr id="11" name="Hexagon 10">
              <a:extLst>
                <a:ext uri="{FF2B5EF4-FFF2-40B4-BE49-F238E27FC236}">
                  <a16:creationId xmlns:a16="http://schemas.microsoft.com/office/drawing/2014/main" id="{8CAD1A0F-277C-4DAC-8B91-DBA88F31C795}"/>
                </a:ext>
              </a:extLst>
            </p:cNvPr>
            <p:cNvSpPr/>
            <p:nvPr/>
          </p:nvSpPr>
          <p:spPr>
            <a:xfrm rot="19817700">
              <a:off x="2315455" y="4876293"/>
              <a:ext cx="470764" cy="389468"/>
            </a:xfrm>
            <a:prstGeom prst="hexagon">
              <a:avLst>
                <a:gd name="adj" fmla="val 29536"/>
                <a:gd name="vf" fmla="val 11547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9pPr>
            </a:lstStyle>
            <a:p>
              <a:pPr algn="ctr"/>
              <a:endParaRPr lang="en-US" sz="1800"/>
            </a:p>
          </p:txBody>
        </p:sp>
        <p:sp>
          <p:nvSpPr>
            <p:cNvPr id="44" name="Rectangle 43">
              <a:extLst>
                <a:ext uri="{FF2B5EF4-FFF2-40B4-BE49-F238E27FC236}">
                  <a16:creationId xmlns:a16="http://schemas.microsoft.com/office/drawing/2014/main" id="{0BAD35A6-1035-4E21-95B7-BAA25A61B5A2}"/>
                </a:ext>
              </a:extLst>
            </p:cNvPr>
            <p:cNvSpPr/>
            <p:nvPr/>
          </p:nvSpPr>
          <p:spPr bwMode="auto">
            <a:xfrm>
              <a:off x="-166975" y="1911108"/>
              <a:ext cx="2111951" cy="796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defPPr>
                <a:defRPr lang="en-US"/>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9pPr>
            </a:lstStyle>
            <a:p>
              <a:pPr algn="ctr">
                <a:spcAft>
                  <a:spcPts val="600"/>
                </a:spcAft>
              </a:pPr>
              <a:r>
                <a:rPr lang="en-US" altLang="ko-KR" sz="1400" b="1" dirty="0">
                  <a:solidFill>
                    <a:schemeClr val="tx1"/>
                  </a:solidFill>
                </a:rPr>
                <a:t>BANKADGANG</a:t>
              </a:r>
            </a:p>
            <a:p>
              <a:pPr algn="ctr"/>
              <a:r>
                <a:rPr lang="en-US" sz="1400" kern="0" dirty="0" err="1">
                  <a:solidFill>
                    <a:schemeClr val="tx1"/>
                  </a:solidFill>
                </a:rPr>
                <a:t>Mindst</a:t>
              </a:r>
              <a:r>
                <a:rPr lang="en-US" sz="1400" kern="0" dirty="0">
                  <a:solidFill>
                    <a:schemeClr val="tx1"/>
                  </a:solidFill>
                </a:rPr>
                <a:t> to </a:t>
              </a:r>
              <a:r>
                <a:rPr lang="en-US" sz="1400" kern="0" dirty="0" err="1">
                  <a:solidFill>
                    <a:schemeClr val="tx1"/>
                  </a:solidFill>
                </a:rPr>
                <a:t>i</a:t>
              </a:r>
              <a:r>
                <a:rPr lang="en-US" sz="1400" kern="0" dirty="0">
                  <a:solidFill>
                    <a:schemeClr val="tx1"/>
                  </a:solidFill>
                </a:rPr>
                <a:t> </a:t>
              </a:r>
              <a:r>
                <a:rPr lang="en-US" sz="1400" kern="0" dirty="0" err="1">
                  <a:solidFill>
                    <a:schemeClr val="tx1"/>
                  </a:solidFill>
                </a:rPr>
                <a:t>bestyrelsen</a:t>
              </a:r>
              <a:endParaRPr lang="ko-KR" altLang="en-US" sz="1400" b="1" dirty="0">
                <a:solidFill>
                  <a:schemeClr val="tx1"/>
                </a:solidFill>
              </a:endParaRPr>
            </a:p>
          </p:txBody>
        </p:sp>
        <p:sp>
          <p:nvSpPr>
            <p:cNvPr id="45" name="Rectangle 44">
              <a:extLst>
                <a:ext uri="{FF2B5EF4-FFF2-40B4-BE49-F238E27FC236}">
                  <a16:creationId xmlns:a16="http://schemas.microsoft.com/office/drawing/2014/main" id="{7DDE22BD-BB53-4025-A4D8-543AD49E85BB}"/>
                </a:ext>
              </a:extLst>
            </p:cNvPr>
            <p:cNvSpPr/>
            <p:nvPr/>
          </p:nvSpPr>
          <p:spPr bwMode="auto">
            <a:xfrm>
              <a:off x="2567049" y="1958296"/>
              <a:ext cx="3291256" cy="796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defPPr>
                <a:defRPr lang="en-US"/>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9pPr>
            </a:lstStyle>
            <a:p>
              <a:pPr algn="ctr">
                <a:spcAft>
                  <a:spcPts val="600"/>
                </a:spcAft>
              </a:pPr>
              <a:r>
                <a:rPr lang="en-US" altLang="ko-KR" sz="1400" b="1" dirty="0">
                  <a:solidFill>
                    <a:schemeClr val="tx1"/>
                  </a:solidFill>
                </a:rPr>
                <a:t>PROKURA</a:t>
              </a:r>
            </a:p>
            <a:p>
              <a:pPr algn="ctr"/>
              <a:r>
                <a:rPr lang="en-US" sz="1400" kern="0" dirty="0">
                  <a:solidFill>
                    <a:schemeClr val="tx1"/>
                  </a:solidFill>
                </a:rPr>
                <a:t>To </a:t>
              </a:r>
              <a:r>
                <a:rPr lang="en-US" sz="1400" kern="0" dirty="0" err="1">
                  <a:solidFill>
                    <a:schemeClr val="tx1"/>
                  </a:solidFill>
                </a:rPr>
                <a:t>godkendere</a:t>
              </a:r>
              <a:r>
                <a:rPr lang="en-US" sz="1400" kern="0" dirty="0">
                  <a:solidFill>
                    <a:schemeClr val="tx1"/>
                  </a:solidFill>
                </a:rPr>
                <a:t> </a:t>
              </a:r>
              <a:r>
                <a:rPr lang="en-US" sz="1400" kern="0" dirty="0" err="1">
                  <a:solidFill>
                    <a:schemeClr val="tx1"/>
                  </a:solidFill>
                </a:rPr>
                <a:t>af</a:t>
              </a:r>
              <a:r>
                <a:rPr lang="en-US" sz="1400" kern="0" dirty="0">
                  <a:solidFill>
                    <a:schemeClr val="tx1"/>
                  </a:solidFill>
                </a:rPr>
                <a:t> </a:t>
              </a:r>
              <a:r>
                <a:rPr lang="en-US" sz="1400" kern="0" dirty="0" err="1">
                  <a:solidFill>
                    <a:schemeClr val="tx1"/>
                  </a:solidFill>
                </a:rPr>
                <a:t>bankbetalinger</a:t>
              </a:r>
              <a:endParaRPr lang="en-US" sz="1400" kern="0" dirty="0">
                <a:solidFill>
                  <a:schemeClr val="tx1"/>
                </a:solidFill>
              </a:endParaRPr>
            </a:p>
            <a:p>
              <a:pPr algn="ctr"/>
              <a:r>
                <a:rPr lang="en-US" altLang="ko-KR" sz="1400" dirty="0">
                  <a:solidFill>
                    <a:schemeClr val="tx1"/>
                  </a:solidFill>
                </a:rPr>
                <a:t>(</a:t>
              </a:r>
              <a:r>
                <a:rPr lang="en-US" altLang="ko-KR" sz="1400" dirty="0" err="1">
                  <a:solidFill>
                    <a:schemeClr val="tx1"/>
                  </a:solidFill>
                </a:rPr>
                <a:t>af</a:t>
              </a:r>
              <a:r>
                <a:rPr lang="en-US" altLang="ko-KR" sz="1400" dirty="0">
                  <a:solidFill>
                    <a:schemeClr val="tx1"/>
                  </a:solidFill>
                </a:rPr>
                <a:t> </a:t>
              </a:r>
              <a:r>
                <a:rPr lang="en-US" altLang="ko-KR" sz="1400" dirty="0" err="1">
                  <a:solidFill>
                    <a:schemeClr val="tx1"/>
                  </a:solidFill>
                </a:rPr>
                <a:t>praktiske</a:t>
              </a:r>
              <a:r>
                <a:rPr lang="en-US" altLang="ko-KR" sz="1400" dirty="0">
                  <a:solidFill>
                    <a:schemeClr val="tx1"/>
                  </a:solidFill>
                </a:rPr>
                <a:t> </a:t>
              </a:r>
              <a:r>
                <a:rPr lang="en-US" altLang="ko-KR" sz="1400" dirty="0" err="1">
                  <a:solidFill>
                    <a:schemeClr val="tx1"/>
                  </a:solidFill>
                </a:rPr>
                <a:t>hensyn</a:t>
              </a:r>
              <a:r>
                <a:rPr lang="en-US" altLang="ko-KR" sz="1400" dirty="0">
                  <a:solidFill>
                    <a:schemeClr val="tx1"/>
                  </a:solidFill>
                </a:rPr>
                <a:t> gerne </a:t>
              </a:r>
              <a:r>
                <a:rPr lang="en-US" altLang="ko-KR" sz="1400" dirty="0" err="1">
                  <a:solidFill>
                    <a:schemeClr val="tx1"/>
                  </a:solidFill>
                </a:rPr>
                <a:t>kun</a:t>
              </a:r>
              <a:r>
                <a:rPr lang="en-US" altLang="ko-KR" sz="1400" dirty="0">
                  <a:solidFill>
                    <a:schemeClr val="tx1"/>
                  </a:solidFill>
                </a:rPr>
                <a:t> for </a:t>
              </a:r>
              <a:r>
                <a:rPr lang="en-US" altLang="ko-KR" sz="1400" dirty="0" err="1">
                  <a:solidFill>
                    <a:schemeClr val="tx1"/>
                  </a:solidFill>
                </a:rPr>
                <a:t>beløb</a:t>
              </a:r>
              <a:r>
                <a:rPr lang="en-US" altLang="ko-KR" sz="1400" dirty="0">
                  <a:solidFill>
                    <a:schemeClr val="tx1"/>
                  </a:solidFill>
                </a:rPr>
                <a:t> over et </a:t>
              </a:r>
              <a:r>
                <a:rPr lang="en-US" altLang="ko-KR" sz="1400" dirty="0" err="1">
                  <a:solidFill>
                    <a:schemeClr val="tx1"/>
                  </a:solidFill>
                </a:rPr>
                <a:t>vist</a:t>
              </a:r>
              <a:r>
                <a:rPr lang="en-US" altLang="ko-KR" sz="1400" dirty="0">
                  <a:solidFill>
                    <a:schemeClr val="tx1"/>
                  </a:solidFill>
                </a:rPr>
                <a:t> minimum)  </a:t>
              </a:r>
              <a:endParaRPr lang="ko-KR" altLang="en-US" sz="1400" dirty="0">
                <a:solidFill>
                  <a:schemeClr val="tx1"/>
                </a:solidFill>
              </a:endParaRPr>
            </a:p>
          </p:txBody>
        </p:sp>
        <p:sp>
          <p:nvSpPr>
            <p:cNvPr id="46" name="Rectangle 45">
              <a:extLst>
                <a:ext uri="{FF2B5EF4-FFF2-40B4-BE49-F238E27FC236}">
                  <a16:creationId xmlns:a16="http://schemas.microsoft.com/office/drawing/2014/main" id="{D48AFCA5-0EEF-444E-BB62-7087CDFC7870}"/>
                </a:ext>
              </a:extLst>
            </p:cNvPr>
            <p:cNvSpPr/>
            <p:nvPr/>
          </p:nvSpPr>
          <p:spPr bwMode="auto">
            <a:xfrm>
              <a:off x="5587939" y="4075478"/>
              <a:ext cx="3896828" cy="796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88900" tIns="38100" rIns="88900" bIns="38100" rtlCol="0" anchor="ctr"/>
            <a:lstStyle>
              <a:defPPr>
                <a:defRPr lang="en-US"/>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9pPr>
            </a:lstStyle>
            <a:p>
              <a:pPr algn="ctr">
                <a:spcAft>
                  <a:spcPts val="600"/>
                </a:spcAft>
              </a:pPr>
              <a:r>
                <a:rPr lang="en-US" altLang="ko-KR" sz="1400" b="1" dirty="0">
                  <a:solidFill>
                    <a:schemeClr val="tx1"/>
                  </a:solidFill>
                </a:rPr>
                <a:t>KONTANTER</a:t>
              </a:r>
            </a:p>
            <a:p>
              <a:pPr algn="ctr"/>
              <a:r>
                <a:rPr lang="en-US" sz="1400" kern="0" dirty="0">
                  <a:solidFill>
                    <a:schemeClr val="tx1"/>
                  </a:solidFill>
                </a:rPr>
                <a:t>Ikke </a:t>
              </a:r>
              <a:r>
                <a:rPr lang="en-US" sz="1400" kern="0" dirty="0" err="1">
                  <a:solidFill>
                    <a:schemeClr val="tx1"/>
                  </a:solidFill>
                </a:rPr>
                <a:t>større</a:t>
              </a:r>
              <a:r>
                <a:rPr lang="en-US" sz="1400" kern="0" dirty="0">
                  <a:solidFill>
                    <a:schemeClr val="tx1"/>
                  </a:solidFill>
                </a:rPr>
                <a:t> </a:t>
              </a:r>
              <a:r>
                <a:rPr lang="en-US" sz="1400" kern="0" dirty="0" err="1">
                  <a:solidFill>
                    <a:schemeClr val="tx1"/>
                  </a:solidFill>
                </a:rPr>
                <a:t>kontantbeholdninger</a:t>
              </a:r>
              <a:r>
                <a:rPr lang="en-US" sz="1400" kern="0" dirty="0">
                  <a:solidFill>
                    <a:schemeClr val="tx1"/>
                  </a:solidFill>
                </a:rPr>
                <a:t> </a:t>
              </a:r>
              <a:r>
                <a:rPr lang="en-US" sz="1400" kern="0" dirty="0" err="1">
                  <a:solidFill>
                    <a:schemeClr val="tx1"/>
                  </a:solidFill>
                </a:rPr>
                <a:t>i</a:t>
              </a:r>
              <a:r>
                <a:rPr lang="en-US" sz="1400" kern="0" dirty="0">
                  <a:solidFill>
                    <a:schemeClr val="tx1"/>
                  </a:solidFill>
                </a:rPr>
                <a:t> </a:t>
              </a:r>
              <a:r>
                <a:rPr lang="en-US" sz="1400" kern="0" dirty="0" err="1">
                  <a:solidFill>
                    <a:schemeClr val="tx1"/>
                  </a:solidFill>
                </a:rPr>
                <a:t>butikken</a:t>
              </a:r>
              <a:endParaRPr lang="en-US" sz="1400" kern="0" dirty="0">
                <a:solidFill>
                  <a:schemeClr val="tx1"/>
                </a:solidFill>
              </a:endParaRPr>
            </a:p>
            <a:p>
              <a:pPr algn="ctr"/>
              <a:r>
                <a:rPr lang="en-US" sz="1400" kern="0" dirty="0">
                  <a:solidFill>
                    <a:schemeClr val="tx1"/>
                  </a:solidFill>
                </a:rPr>
                <a:t>(</a:t>
              </a:r>
              <a:r>
                <a:rPr lang="en-US" sz="1400" kern="0" dirty="0" err="1">
                  <a:solidFill>
                    <a:schemeClr val="tx1"/>
                  </a:solidFill>
                </a:rPr>
                <a:t>jævnlig</a:t>
              </a:r>
              <a:r>
                <a:rPr lang="en-US" sz="1400" kern="0" dirty="0">
                  <a:solidFill>
                    <a:schemeClr val="tx1"/>
                  </a:solidFill>
                </a:rPr>
                <a:t> </a:t>
              </a:r>
              <a:r>
                <a:rPr lang="en-US" sz="1400" kern="0" dirty="0" err="1">
                  <a:solidFill>
                    <a:schemeClr val="tx1"/>
                  </a:solidFill>
                </a:rPr>
                <a:t>indsætning</a:t>
              </a:r>
              <a:r>
                <a:rPr lang="en-US" sz="1400" kern="0" dirty="0">
                  <a:solidFill>
                    <a:schemeClr val="tx1"/>
                  </a:solidFill>
                </a:rPr>
                <a:t> </a:t>
              </a:r>
              <a:r>
                <a:rPr lang="en-US" sz="1400" kern="0" dirty="0" err="1">
                  <a:solidFill>
                    <a:schemeClr val="tx1"/>
                  </a:solidFill>
                </a:rPr>
                <a:t>af</a:t>
              </a:r>
              <a:r>
                <a:rPr lang="en-US" sz="1400" kern="0" dirty="0">
                  <a:solidFill>
                    <a:schemeClr val="tx1"/>
                  </a:solidFill>
                </a:rPr>
                <a:t> </a:t>
              </a:r>
              <a:r>
                <a:rPr lang="en-US" sz="1400" kern="0" dirty="0" err="1">
                  <a:solidFill>
                    <a:schemeClr val="tx1"/>
                  </a:solidFill>
                </a:rPr>
                <a:t>kontanter</a:t>
              </a:r>
              <a:r>
                <a:rPr lang="en-US" sz="1400" kern="0" dirty="0">
                  <a:solidFill>
                    <a:schemeClr val="tx1"/>
                  </a:solidFill>
                </a:rPr>
                <a:t> </a:t>
              </a:r>
              <a:r>
                <a:rPr lang="en-US" sz="1400" kern="0" dirty="0" err="1">
                  <a:solidFill>
                    <a:schemeClr val="tx1"/>
                  </a:solidFill>
                </a:rPr>
                <a:t>i</a:t>
              </a:r>
              <a:r>
                <a:rPr lang="en-US" sz="1400" kern="0" dirty="0">
                  <a:solidFill>
                    <a:schemeClr val="tx1"/>
                  </a:solidFill>
                </a:rPr>
                <a:t> </a:t>
              </a:r>
              <a:r>
                <a:rPr lang="en-US" sz="1400" kern="0" dirty="0" err="1">
                  <a:solidFill>
                    <a:schemeClr val="tx1"/>
                  </a:solidFill>
                </a:rPr>
                <a:t>banken</a:t>
              </a:r>
              <a:r>
                <a:rPr lang="en-US" sz="1400" kern="0" dirty="0">
                  <a:solidFill>
                    <a:schemeClr val="tx1"/>
                  </a:solidFill>
                </a:rPr>
                <a:t>)</a:t>
              </a:r>
              <a:endParaRPr lang="ko-KR" altLang="en-US" sz="1400" b="1" dirty="0">
                <a:solidFill>
                  <a:schemeClr val="tx1"/>
                </a:solidFill>
              </a:endParaRPr>
            </a:p>
          </p:txBody>
        </p:sp>
      </p:grpSp>
      <p:sp>
        <p:nvSpPr>
          <p:cNvPr id="43" name="Title 42">
            <a:extLst>
              <a:ext uri="{FF2B5EF4-FFF2-40B4-BE49-F238E27FC236}">
                <a16:creationId xmlns:a16="http://schemas.microsoft.com/office/drawing/2014/main" id="{F1DF0462-2E18-7D70-5FAC-35BD72D2B63C}"/>
              </a:ext>
            </a:extLst>
          </p:cNvPr>
          <p:cNvSpPr>
            <a:spLocks noGrp="1"/>
          </p:cNvSpPr>
          <p:nvPr>
            <p:ph type="title"/>
          </p:nvPr>
        </p:nvSpPr>
        <p:spPr/>
        <p:txBody>
          <a:bodyPr/>
          <a:lstStyle/>
          <a:p>
            <a:r>
              <a:rPr lang="en-US" dirty="0" err="1"/>
              <a:t>Sikkerhed</a:t>
            </a:r>
            <a:endParaRPr lang="da-DK" dirty="0"/>
          </a:p>
        </p:txBody>
      </p:sp>
      <p:sp>
        <p:nvSpPr>
          <p:cNvPr id="49" name="Footer Placeholder 3">
            <a:extLst>
              <a:ext uri="{FF2B5EF4-FFF2-40B4-BE49-F238E27FC236}">
                <a16:creationId xmlns:a16="http://schemas.microsoft.com/office/drawing/2014/main" id="{CC2A2E24-E56C-4616-FB6A-DCE693E5CB16}"/>
              </a:ext>
            </a:extLst>
          </p:cNvPr>
          <p:cNvSpPr>
            <a:spLocks noGrp="1"/>
          </p:cNvSpPr>
          <p:nvPr>
            <p:ph type="ftr" sz="quarter" idx="11"/>
          </p:nvPr>
        </p:nvSpPr>
        <p:spPr>
          <a:xfrm>
            <a:off x="838199" y="6413500"/>
            <a:ext cx="10515599" cy="237600"/>
          </a:xfrm>
        </p:spPr>
        <p:txBody>
          <a:bodyPr/>
          <a:lstStyle/>
          <a:p>
            <a:r>
              <a:rPr lang="da-DK" noProof="0" dirty="0"/>
              <a:t>RØDE KORS / Introduktionskursus for nye kasserere / 2025</a:t>
            </a:r>
          </a:p>
        </p:txBody>
      </p:sp>
    </p:spTree>
    <p:custDataLst>
      <p:tags r:id="rId1"/>
    </p:custDataLst>
    <p:extLst>
      <p:ext uri="{BB962C8B-B14F-4D97-AF65-F5344CB8AC3E}">
        <p14:creationId xmlns:p14="http://schemas.microsoft.com/office/powerpoint/2010/main" val="32240046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79C173-2942-88D9-1A39-124084709D6A}"/>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F59C0B3E-44D6-7D9A-B4F5-D657DF4F4E6F}"/>
              </a:ext>
            </a:extLst>
          </p:cNvPr>
          <p:cNvSpPr>
            <a:spLocks noGrp="1"/>
          </p:cNvSpPr>
          <p:nvPr>
            <p:ph type="title"/>
          </p:nvPr>
        </p:nvSpPr>
        <p:spPr/>
        <p:txBody>
          <a:bodyPr/>
          <a:lstStyle/>
          <a:p>
            <a:r>
              <a:rPr lang="da-DK" dirty="0"/>
              <a:t>Økonomien i en Røde Kors afdeling</a:t>
            </a:r>
          </a:p>
        </p:txBody>
      </p:sp>
      <p:sp>
        <p:nvSpPr>
          <p:cNvPr id="4" name="Pladsholder til sidefod 3">
            <a:extLst>
              <a:ext uri="{FF2B5EF4-FFF2-40B4-BE49-F238E27FC236}">
                <a16:creationId xmlns:a16="http://schemas.microsoft.com/office/drawing/2014/main" id="{E2271975-9997-78B8-5A9F-298DD58E8AA6}"/>
              </a:ext>
            </a:extLst>
          </p:cNvPr>
          <p:cNvSpPr>
            <a:spLocks noGrp="1"/>
          </p:cNvSpPr>
          <p:nvPr>
            <p:ph type="ftr" sz="quarter" idx="11"/>
          </p:nvPr>
        </p:nvSpPr>
        <p:spPr/>
        <p:txBody>
          <a:bodyPr/>
          <a:lstStyle/>
          <a:p>
            <a:r>
              <a:rPr lang="da-DK"/>
              <a:t>RØDE KORS / Introduktionskursus for nye kasserere / 2025</a:t>
            </a:r>
          </a:p>
        </p:txBody>
      </p:sp>
      <p:graphicFrame>
        <p:nvGraphicFramePr>
          <p:cNvPr id="5" name="Tabel 4">
            <a:extLst>
              <a:ext uri="{FF2B5EF4-FFF2-40B4-BE49-F238E27FC236}">
                <a16:creationId xmlns:a16="http://schemas.microsoft.com/office/drawing/2014/main" id="{679F1889-D455-C244-8046-6D8153F716C0}"/>
              </a:ext>
            </a:extLst>
          </p:cNvPr>
          <p:cNvGraphicFramePr>
            <a:graphicFrameLocks noGrp="1"/>
          </p:cNvGraphicFramePr>
          <p:nvPr>
            <p:extLst>
              <p:ext uri="{D42A27DB-BD31-4B8C-83A1-F6EECF244321}">
                <p14:modId xmlns:p14="http://schemas.microsoft.com/office/powerpoint/2010/main" val="97811816"/>
              </p:ext>
            </p:extLst>
          </p:nvPr>
        </p:nvGraphicFramePr>
        <p:xfrm>
          <a:off x="3460222" y="2316196"/>
          <a:ext cx="5257800" cy="3195320"/>
        </p:xfrm>
        <a:graphic>
          <a:graphicData uri="http://schemas.openxmlformats.org/drawingml/2006/table">
            <a:tbl>
              <a:tblPr firstRow="1" bandRow="1">
                <a:tableStyleId>{5C22544A-7EE6-4342-B048-85BDC9FD1C3A}</a:tableStyleId>
              </a:tblPr>
              <a:tblGrid>
                <a:gridCol w="2628900">
                  <a:extLst>
                    <a:ext uri="{9D8B030D-6E8A-4147-A177-3AD203B41FA5}">
                      <a16:colId xmlns:a16="http://schemas.microsoft.com/office/drawing/2014/main" val="3314588055"/>
                    </a:ext>
                  </a:extLst>
                </a:gridCol>
                <a:gridCol w="2628900">
                  <a:extLst>
                    <a:ext uri="{9D8B030D-6E8A-4147-A177-3AD203B41FA5}">
                      <a16:colId xmlns:a16="http://schemas.microsoft.com/office/drawing/2014/main" val="453677051"/>
                    </a:ext>
                  </a:extLst>
                </a:gridCol>
              </a:tblGrid>
              <a:tr h="370840">
                <a:tc>
                  <a:txBody>
                    <a:bodyPr/>
                    <a:lstStyle/>
                    <a:p>
                      <a:pPr algn="ctr"/>
                      <a:r>
                        <a:rPr lang="da-DK" sz="1200" dirty="0"/>
                        <a:t>FRIE MIDLER</a:t>
                      </a:r>
                    </a:p>
                  </a:txBody>
                  <a:tcPr>
                    <a:solidFill>
                      <a:srgbClr val="00B050"/>
                    </a:solidFill>
                  </a:tcPr>
                </a:tc>
                <a:tc>
                  <a:txBody>
                    <a:bodyPr/>
                    <a:lstStyle/>
                    <a:p>
                      <a:pPr algn="ctr"/>
                      <a:r>
                        <a:rPr lang="da-DK" sz="1200" dirty="0"/>
                        <a:t>ØREMÆRKEDE MIDLER</a:t>
                      </a:r>
                    </a:p>
                    <a:p>
                      <a:pPr algn="ctr"/>
                      <a:endParaRPr lang="da-DK" sz="1200" dirty="0"/>
                    </a:p>
                    <a:p>
                      <a:pPr algn="ctr"/>
                      <a:endParaRPr lang="da-DK" sz="700" dirty="0"/>
                    </a:p>
                  </a:txBody>
                  <a:tcPr>
                    <a:solidFill>
                      <a:srgbClr val="00B050"/>
                    </a:solidFill>
                  </a:tcPr>
                </a:tc>
                <a:extLst>
                  <a:ext uri="{0D108BD9-81ED-4DB2-BD59-A6C34878D82A}">
                    <a16:rowId xmlns:a16="http://schemas.microsoft.com/office/drawing/2014/main" val="215044089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00" cap="none" spc="0" normalizeH="0" baseline="0" noProof="0" dirty="0">
                          <a:ln>
                            <a:noFill/>
                          </a:ln>
                          <a:solidFill>
                            <a:prstClr val="black"/>
                          </a:solidFill>
                          <a:effectLst/>
                          <a:uLnTx/>
                          <a:uFillTx/>
                          <a:latin typeface="Verdana" panose="020B0604030504040204" pitchFamily="34" charset="0"/>
                          <a:ea typeface="Calibri" panose="020F0502020204030204" pitchFamily="34" charset="0"/>
                          <a:cs typeface="Times New Roman" panose="02020603050405020304" pitchFamily="18" charset="0"/>
                        </a:rPr>
                        <a:t>Butik</a:t>
                      </a:r>
                    </a:p>
                  </a:txBody>
                  <a:tcPr>
                    <a:solidFill>
                      <a:schemeClr val="bg1">
                        <a:lumMod val="95000"/>
                      </a:schemeClr>
                    </a:solidFill>
                  </a:tcPr>
                </a:tc>
                <a:tc>
                  <a:txBody>
                    <a:bodyPr/>
                    <a:lstStyle/>
                    <a:p>
                      <a:r>
                        <a:rPr lang="da-DK" sz="1200" b="1" dirty="0"/>
                        <a:t>Bevillinger (fx §18)</a:t>
                      </a:r>
                    </a:p>
                  </a:txBody>
                  <a:tcPr>
                    <a:solidFill>
                      <a:schemeClr val="bg1">
                        <a:lumMod val="95000"/>
                      </a:schemeClr>
                    </a:solidFill>
                  </a:tcPr>
                </a:tc>
                <a:extLst>
                  <a:ext uri="{0D108BD9-81ED-4DB2-BD59-A6C34878D82A}">
                    <a16:rowId xmlns:a16="http://schemas.microsoft.com/office/drawing/2014/main" val="425001200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00" cap="none" spc="0" normalizeH="0" baseline="0" noProof="0" dirty="0">
                          <a:ln>
                            <a:noFill/>
                          </a:ln>
                          <a:solidFill>
                            <a:prstClr val="black"/>
                          </a:solidFill>
                          <a:effectLst/>
                          <a:uLnTx/>
                          <a:uFillTx/>
                          <a:latin typeface="Verdana" panose="020B0604030504040204" pitchFamily="34" charset="0"/>
                          <a:ea typeface="Calibri" panose="020F0502020204030204" pitchFamily="34" charset="0"/>
                          <a:cs typeface="Times New Roman" panose="02020603050405020304" pitchFamily="18" charset="0"/>
                        </a:rPr>
                        <a:t>Medlemskontingent</a:t>
                      </a:r>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b="1" dirty="0"/>
                        <a:t>Donationer</a:t>
                      </a:r>
                    </a:p>
                  </a:txBody>
                  <a:tcPr>
                    <a:solidFill>
                      <a:schemeClr val="bg1">
                        <a:lumMod val="95000"/>
                      </a:schemeClr>
                    </a:solidFill>
                  </a:tcPr>
                </a:tc>
                <a:extLst>
                  <a:ext uri="{0D108BD9-81ED-4DB2-BD59-A6C34878D82A}">
                    <a16:rowId xmlns:a16="http://schemas.microsoft.com/office/drawing/2014/main" val="28833465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00" cap="none" spc="0" normalizeH="0" baseline="0" noProof="0" dirty="0">
                          <a:ln>
                            <a:noFill/>
                          </a:ln>
                          <a:solidFill>
                            <a:prstClr val="black"/>
                          </a:solidFill>
                          <a:effectLst/>
                          <a:uLnTx/>
                          <a:uFillTx/>
                          <a:latin typeface="Verdana" panose="020B0604030504040204" pitchFamily="34" charset="0"/>
                          <a:ea typeface="Calibri" panose="020F0502020204030204" pitchFamily="34" charset="0"/>
                          <a:cs typeface="Times New Roman" panose="02020603050405020304" pitchFamily="18" charset="0"/>
                        </a:rPr>
                        <a:t>Førstehjælpskurser </a:t>
                      </a:r>
                    </a:p>
                  </a:txBody>
                  <a:tcPr>
                    <a:solidFill>
                      <a:schemeClr val="bg1">
                        <a:lumMod val="95000"/>
                      </a:schemeClr>
                    </a:solidFill>
                  </a:tcPr>
                </a:tc>
                <a:tc>
                  <a:txBody>
                    <a:bodyPr/>
                    <a:lstStyle/>
                    <a:p>
                      <a:r>
                        <a:rPr lang="da-DK" sz="1200" b="1" dirty="0"/>
                        <a:t>Arv</a:t>
                      </a:r>
                    </a:p>
                    <a:p>
                      <a:r>
                        <a:rPr lang="da-DK" sz="1100" b="0" dirty="0"/>
                        <a:t>(jf. vejledning 6h Bogføring – øremærkede midler, hensættelser mv.)</a:t>
                      </a:r>
                    </a:p>
                  </a:txBody>
                  <a:tcPr>
                    <a:solidFill>
                      <a:schemeClr val="bg1">
                        <a:lumMod val="95000"/>
                      </a:schemeClr>
                    </a:solidFill>
                  </a:tcPr>
                </a:tc>
                <a:extLst>
                  <a:ext uri="{0D108BD9-81ED-4DB2-BD59-A6C34878D82A}">
                    <a16:rowId xmlns:a16="http://schemas.microsoft.com/office/drawing/2014/main" val="273960989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00" cap="none" spc="0" normalizeH="0" baseline="0" noProof="0" dirty="0">
                          <a:ln>
                            <a:noFill/>
                          </a:ln>
                          <a:solidFill>
                            <a:prstClr val="black"/>
                          </a:solidFill>
                          <a:effectLst/>
                          <a:uLnTx/>
                          <a:uFillTx/>
                          <a:latin typeface="Verdana" panose="020B0604030504040204" pitchFamily="34" charset="0"/>
                          <a:ea typeface="Calibri" panose="020F0502020204030204" pitchFamily="34" charset="0"/>
                          <a:cs typeface="Times New Roman" panose="02020603050405020304" pitchFamily="18" charset="0"/>
                        </a:rPr>
                        <a:t>Samaritertjeneste</a:t>
                      </a:r>
                    </a:p>
                  </a:txBody>
                  <a:tcPr>
                    <a:solidFill>
                      <a:schemeClr val="bg1">
                        <a:lumMod val="95000"/>
                      </a:schemeClr>
                    </a:solidFill>
                  </a:tcPr>
                </a:tc>
                <a:tc>
                  <a:txBody>
                    <a:bodyPr/>
                    <a:lstStyle/>
                    <a:p>
                      <a:endParaRPr lang="da-DK" sz="1200" b="1" dirty="0"/>
                    </a:p>
                  </a:txBody>
                  <a:tcPr>
                    <a:solidFill>
                      <a:schemeClr val="bg1">
                        <a:lumMod val="95000"/>
                      </a:schemeClr>
                    </a:solidFill>
                  </a:tcPr>
                </a:tc>
                <a:extLst>
                  <a:ext uri="{0D108BD9-81ED-4DB2-BD59-A6C34878D82A}">
                    <a16:rowId xmlns:a16="http://schemas.microsoft.com/office/drawing/2014/main" val="3753196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00" cap="none" spc="0" normalizeH="0" baseline="0" noProof="0" dirty="0">
                          <a:ln>
                            <a:noFill/>
                          </a:ln>
                          <a:solidFill>
                            <a:prstClr val="black"/>
                          </a:solidFill>
                          <a:effectLst/>
                          <a:uLnTx/>
                          <a:uFillTx/>
                          <a:latin typeface="Verdana" panose="020B0604030504040204" pitchFamily="34" charset="0"/>
                          <a:ea typeface="Calibri" panose="020F0502020204030204" pitchFamily="34" charset="0"/>
                          <a:cs typeface="Times New Roman" panose="02020603050405020304" pitchFamily="18" charset="0"/>
                        </a:rPr>
                        <a:t>Andre (donationer, arv)</a:t>
                      </a:r>
                      <a:endParaRPr kumimoji="0" lang="da-DK" sz="1200" b="1" i="0" u="none" strike="noStrike" kern="1200" cap="none" spc="0" normalizeH="0" baseline="0" noProof="0" dirty="0">
                        <a:ln>
                          <a:noFill/>
                        </a:ln>
                        <a:solidFill>
                          <a:prstClr val="black"/>
                        </a:solidFill>
                        <a:effectLst/>
                        <a:uLnTx/>
                        <a:uFillTx/>
                        <a:latin typeface="+mn-lt"/>
                        <a:ea typeface="+mn-ea"/>
                        <a:cs typeface="+mn-cs"/>
                      </a:endParaRPr>
                    </a:p>
                  </a:txBody>
                  <a:tcPr>
                    <a:solidFill>
                      <a:schemeClr val="bg1">
                        <a:lumMod val="95000"/>
                      </a:schemeClr>
                    </a:solidFill>
                  </a:tcPr>
                </a:tc>
                <a:tc>
                  <a:txBody>
                    <a:bodyPr/>
                    <a:lstStyle/>
                    <a:p>
                      <a:endParaRPr lang="da-DK" sz="1200" b="1" dirty="0"/>
                    </a:p>
                  </a:txBody>
                  <a:tcPr>
                    <a:solidFill>
                      <a:schemeClr val="bg1">
                        <a:lumMod val="95000"/>
                      </a:schemeClr>
                    </a:solidFill>
                  </a:tcPr>
                </a:tc>
                <a:extLst>
                  <a:ext uri="{0D108BD9-81ED-4DB2-BD59-A6C34878D82A}">
                    <a16:rowId xmlns:a16="http://schemas.microsoft.com/office/drawing/2014/main" val="3347221916"/>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1" i="0" u="none" strike="noStrike" kern="1200" cap="none" spc="0" normalizeH="0" baseline="0" noProof="0" dirty="0">
                        <a:ln>
                          <a:noFill/>
                        </a:ln>
                        <a:solidFill>
                          <a:prstClr val="black"/>
                        </a:solidFill>
                        <a:effectLst/>
                        <a:uLnTx/>
                        <a:uFillTx/>
                        <a:latin typeface="+mn-lt"/>
                        <a:ea typeface="+mn-ea"/>
                        <a:cs typeface="+mn-cs"/>
                      </a:endParaRPr>
                    </a:p>
                  </a:txBody>
                  <a:tcPr>
                    <a:solidFill>
                      <a:schemeClr val="bg1">
                        <a:lumMod val="95000"/>
                      </a:schemeClr>
                    </a:solidFill>
                  </a:tcPr>
                </a:tc>
                <a:tc>
                  <a:txBody>
                    <a:bodyPr/>
                    <a:lstStyle/>
                    <a:p>
                      <a:endParaRPr lang="da-DK" sz="1200" b="1" dirty="0"/>
                    </a:p>
                  </a:txBody>
                  <a:tcPr>
                    <a:solidFill>
                      <a:schemeClr val="bg1">
                        <a:lumMod val="95000"/>
                      </a:schemeClr>
                    </a:solidFill>
                  </a:tcPr>
                </a:tc>
                <a:extLst>
                  <a:ext uri="{0D108BD9-81ED-4DB2-BD59-A6C34878D82A}">
                    <a16:rowId xmlns:a16="http://schemas.microsoft.com/office/drawing/2014/main" val="3311906373"/>
                  </a:ext>
                </a:extLst>
              </a:tr>
            </a:tbl>
          </a:graphicData>
        </a:graphic>
      </p:graphicFrame>
      <p:sp>
        <p:nvSpPr>
          <p:cNvPr id="6" name="Tekstfelt 5">
            <a:extLst>
              <a:ext uri="{FF2B5EF4-FFF2-40B4-BE49-F238E27FC236}">
                <a16:creationId xmlns:a16="http://schemas.microsoft.com/office/drawing/2014/main" id="{65B6C04C-15DB-D682-0A01-A867120F4FC4}"/>
              </a:ext>
            </a:extLst>
          </p:cNvPr>
          <p:cNvSpPr txBox="1"/>
          <p:nvPr/>
        </p:nvSpPr>
        <p:spPr>
          <a:xfrm>
            <a:off x="4312021" y="1803387"/>
            <a:ext cx="3567953" cy="400110"/>
          </a:xfrm>
          <a:prstGeom prst="rect">
            <a:avLst/>
          </a:prstGeom>
          <a:noFill/>
        </p:spPr>
        <p:txBody>
          <a:bodyPr wrap="square" rtlCol="0">
            <a:spAutoFit/>
          </a:bodyPr>
          <a:lstStyle/>
          <a:p>
            <a:pPr algn="ctr"/>
            <a:r>
              <a:rPr lang="da-DK" sz="2000" b="1" dirty="0">
                <a:solidFill>
                  <a:srgbClr val="7F7F7F"/>
                </a:solidFill>
              </a:rPr>
              <a:t>INDTÆGTER</a:t>
            </a:r>
            <a:endParaRPr lang="da-DK" sz="1600" b="1" dirty="0">
              <a:solidFill>
                <a:srgbClr val="7F7F7F"/>
              </a:solidFill>
            </a:endParaRPr>
          </a:p>
        </p:txBody>
      </p:sp>
      <p:graphicFrame>
        <p:nvGraphicFramePr>
          <p:cNvPr id="3" name="Tabel 2">
            <a:extLst>
              <a:ext uri="{FF2B5EF4-FFF2-40B4-BE49-F238E27FC236}">
                <a16:creationId xmlns:a16="http://schemas.microsoft.com/office/drawing/2014/main" id="{F8888F41-AFD8-F8DF-8958-518862CF4BEB}"/>
              </a:ext>
            </a:extLst>
          </p:cNvPr>
          <p:cNvGraphicFramePr>
            <a:graphicFrameLocks noGrp="1"/>
          </p:cNvGraphicFramePr>
          <p:nvPr>
            <p:extLst>
              <p:ext uri="{D42A27DB-BD31-4B8C-83A1-F6EECF244321}">
                <p14:modId xmlns:p14="http://schemas.microsoft.com/office/powerpoint/2010/main" val="1238117740"/>
              </p:ext>
            </p:extLst>
          </p:nvPr>
        </p:nvGraphicFramePr>
        <p:xfrm>
          <a:off x="3460238" y="2321116"/>
          <a:ext cx="5257800" cy="3317240"/>
        </p:xfrm>
        <a:graphic>
          <a:graphicData uri="http://schemas.openxmlformats.org/drawingml/2006/table">
            <a:tbl>
              <a:tblPr firstRow="1" bandRow="1">
                <a:tableStyleId>{5C22544A-7EE6-4342-B048-85BDC9FD1C3A}</a:tableStyleId>
              </a:tblPr>
              <a:tblGrid>
                <a:gridCol w="2628900">
                  <a:extLst>
                    <a:ext uri="{9D8B030D-6E8A-4147-A177-3AD203B41FA5}">
                      <a16:colId xmlns:a16="http://schemas.microsoft.com/office/drawing/2014/main" val="2727224556"/>
                    </a:ext>
                  </a:extLst>
                </a:gridCol>
                <a:gridCol w="2628900">
                  <a:extLst>
                    <a:ext uri="{9D8B030D-6E8A-4147-A177-3AD203B41FA5}">
                      <a16:colId xmlns:a16="http://schemas.microsoft.com/office/drawing/2014/main" val="800161061"/>
                    </a:ext>
                  </a:extLst>
                </a:gridCol>
              </a:tblGrid>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1200" b="1" dirty="0"/>
                        <a:t>INDTÆGTS-GENERERENDE AKTIVITETER</a:t>
                      </a:r>
                      <a:br>
                        <a:rPr lang="da-DK" sz="1200" b="1" dirty="0"/>
                      </a:br>
                      <a:r>
                        <a:rPr lang="da-DK" sz="700" dirty="0"/>
                        <a:t>(INTERNE INDTÆGTER)</a:t>
                      </a:r>
                      <a:endParaRPr lang="da-DK" sz="1200" dirty="0"/>
                    </a:p>
                  </a:txBody>
                  <a:tcPr>
                    <a:solidFill>
                      <a:srgbClr val="00B05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1200" b="1" dirty="0"/>
                        <a:t>SOCIALE</a:t>
                      </a:r>
                      <a:br>
                        <a:rPr lang="da-DK" sz="1200" b="1" dirty="0"/>
                      </a:br>
                      <a:r>
                        <a:rPr lang="da-DK" sz="1200" b="1" dirty="0"/>
                        <a:t>AKTIVITETER</a:t>
                      </a:r>
                      <a:br>
                        <a:rPr lang="da-DK" sz="1200" b="1" dirty="0"/>
                      </a:br>
                      <a:r>
                        <a:rPr lang="da-DK" sz="700" dirty="0"/>
                        <a:t>(EKSTERNE INDTÆGTER)</a:t>
                      </a:r>
                      <a:endParaRPr lang="da-DK" sz="1200" b="1" dirty="0"/>
                    </a:p>
                  </a:txBody>
                  <a:tcPr>
                    <a:solidFill>
                      <a:srgbClr val="00B050"/>
                    </a:solidFill>
                  </a:tcPr>
                </a:tc>
                <a:extLst>
                  <a:ext uri="{0D108BD9-81ED-4DB2-BD59-A6C34878D82A}">
                    <a16:rowId xmlns:a16="http://schemas.microsoft.com/office/drawing/2014/main" val="2150440899"/>
                  </a:ext>
                </a:extLst>
              </a:tr>
              <a:tr h="370840">
                <a:tc>
                  <a:txBody>
                    <a:bodyPr/>
                    <a:lstStyle/>
                    <a:p>
                      <a:r>
                        <a:rPr lang="da-DK" sz="1200" b="1" kern="100" dirty="0">
                          <a:effectLst/>
                          <a:latin typeface="Verdana" panose="020B0604030504040204" pitchFamily="34" charset="0"/>
                          <a:ea typeface="Calibri" panose="020F0502020204030204" pitchFamily="34" charset="0"/>
                          <a:cs typeface="Times New Roman" panose="02020603050405020304" pitchFamily="18" charset="0"/>
                        </a:rPr>
                        <a:t>Butik</a:t>
                      </a:r>
                    </a:p>
                  </a:txBody>
                  <a:tcPr>
                    <a:solidFill>
                      <a:schemeClr val="bg1">
                        <a:lumMod val="95000"/>
                      </a:schemeClr>
                    </a:solidFill>
                  </a:tcPr>
                </a:tc>
                <a:tc>
                  <a:txBody>
                    <a:bodyPr/>
                    <a:lstStyle/>
                    <a:p>
                      <a:r>
                        <a:rPr lang="da-DK" sz="1200" b="1" kern="100" dirty="0">
                          <a:effectLst/>
                          <a:latin typeface="Verdana" panose="020B0604030504040204" pitchFamily="34" charset="0"/>
                          <a:ea typeface="Calibri" panose="020F0502020204030204" pitchFamily="34" charset="0"/>
                          <a:cs typeface="Times New Roman" panose="02020603050405020304" pitchFamily="18" charset="0"/>
                        </a:rPr>
                        <a:t>Bevillinger (fx §18)</a:t>
                      </a:r>
                    </a:p>
                  </a:txBody>
                  <a:tcPr>
                    <a:solidFill>
                      <a:schemeClr val="bg1">
                        <a:lumMod val="95000"/>
                      </a:schemeClr>
                    </a:solidFill>
                  </a:tcPr>
                </a:tc>
                <a:extLst>
                  <a:ext uri="{0D108BD9-81ED-4DB2-BD59-A6C34878D82A}">
                    <a16:rowId xmlns:a16="http://schemas.microsoft.com/office/drawing/2014/main" val="425001200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b="1" kern="100" dirty="0">
                          <a:effectLst/>
                          <a:latin typeface="Verdana" panose="020B0604030504040204" pitchFamily="34" charset="0"/>
                          <a:ea typeface="Calibri" panose="020F0502020204030204" pitchFamily="34" charset="0"/>
                          <a:cs typeface="Times New Roman" panose="02020603050405020304" pitchFamily="18" charset="0"/>
                        </a:rPr>
                        <a:t>Medl</a:t>
                      </a:r>
                      <a:r>
                        <a:rPr lang="da-DK" sz="1200" b="1" kern="100" dirty="0">
                          <a:latin typeface="Verdana" panose="020B0604030504040204" pitchFamily="34" charset="0"/>
                          <a:ea typeface="Calibri" panose="020F0502020204030204" pitchFamily="34" charset="0"/>
                          <a:cs typeface="Times New Roman" panose="02020603050405020304" pitchFamily="18" charset="0"/>
                        </a:rPr>
                        <a:t>emskontingent</a:t>
                      </a:r>
                    </a:p>
                  </a:txBody>
                  <a:tcPr>
                    <a:solidFill>
                      <a:schemeClr val="bg1">
                        <a:lumMod val="95000"/>
                      </a:schemeClr>
                    </a:solidFill>
                  </a:tcPr>
                </a:tc>
                <a:tc>
                  <a:txBody>
                    <a:bodyPr/>
                    <a:lstStyle/>
                    <a:p>
                      <a:r>
                        <a:rPr lang="da-DK" sz="1200" b="1" kern="100" dirty="0">
                          <a:latin typeface="Verdana" panose="020B0604030504040204" pitchFamily="34" charset="0"/>
                          <a:ea typeface="Calibri" panose="020F0502020204030204" pitchFamily="34" charset="0"/>
                          <a:cs typeface="Times New Roman" panose="02020603050405020304" pitchFamily="18" charset="0"/>
                        </a:rPr>
                        <a:t>D</a:t>
                      </a:r>
                      <a:r>
                        <a:rPr lang="da-DK" sz="1200" b="1" kern="100" dirty="0">
                          <a:effectLst/>
                          <a:latin typeface="Verdana" panose="020B0604030504040204" pitchFamily="34" charset="0"/>
                          <a:ea typeface="Calibri" panose="020F0502020204030204" pitchFamily="34" charset="0"/>
                          <a:cs typeface="Times New Roman" panose="02020603050405020304" pitchFamily="18" charset="0"/>
                        </a:rPr>
                        <a:t>onationer</a:t>
                      </a:r>
                    </a:p>
                    <a:p>
                      <a:endParaRPr lang="da-DK" sz="1200" b="1" dirty="0"/>
                    </a:p>
                  </a:txBody>
                  <a:tcPr>
                    <a:solidFill>
                      <a:schemeClr val="bg1">
                        <a:lumMod val="95000"/>
                      </a:schemeClr>
                    </a:solidFill>
                  </a:tcPr>
                </a:tc>
                <a:extLst>
                  <a:ext uri="{0D108BD9-81ED-4DB2-BD59-A6C34878D82A}">
                    <a16:rowId xmlns:a16="http://schemas.microsoft.com/office/drawing/2014/main" val="28833465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b="1" kern="100" dirty="0">
                          <a:latin typeface="Verdana" panose="020B0604030504040204" pitchFamily="34" charset="0"/>
                          <a:ea typeface="Calibri" panose="020F0502020204030204" pitchFamily="34" charset="0"/>
                          <a:cs typeface="Times New Roman" panose="02020603050405020304" pitchFamily="18" charset="0"/>
                        </a:rPr>
                        <a:t>F</a:t>
                      </a:r>
                      <a:r>
                        <a:rPr lang="da-DK" sz="1200" b="1" kern="100" dirty="0">
                          <a:effectLst/>
                          <a:latin typeface="Verdana" panose="020B0604030504040204" pitchFamily="34" charset="0"/>
                          <a:ea typeface="Calibri" panose="020F0502020204030204" pitchFamily="34" charset="0"/>
                          <a:cs typeface="Times New Roman" panose="02020603050405020304" pitchFamily="18" charset="0"/>
                        </a:rPr>
                        <a:t>ørstehjælpskurser </a:t>
                      </a:r>
                    </a:p>
                    <a:p>
                      <a:endParaRPr lang="da-DK" sz="1200" b="1" dirty="0"/>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b="1" kern="100" dirty="0">
                          <a:latin typeface="Verdana" panose="020B0604030504040204" pitchFamily="34" charset="0"/>
                          <a:ea typeface="Calibri" panose="020F0502020204030204" pitchFamily="34" charset="0"/>
                          <a:cs typeface="Times New Roman" panose="02020603050405020304" pitchFamily="18" charset="0"/>
                        </a:rPr>
                        <a:t>A</a:t>
                      </a:r>
                      <a:r>
                        <a:rPr lang="da-DK" sz="1200" b="1" kern="100" dirty="0">
                          <a:effectLst/>
                          <a:latin typeface="Verdana" panose="020B0604030504040204" pitchFamily="34" charset="0"/>
                          <a:ea typeface="Calibri" panose="020F0502020204030204" pitchFamily="34" charset="0"/>
                          <a:cs typeface="Times New Roman" panose="02020603050405020304" pitchFamily="18" charset="0"/>
                        </a:rPr>
                        <a:t>rv</a:t>
                      </a:r>
                    </a:p>
                  </a:txBody>
                  <a:tcPr>
                    <a:solidFill>
                      <a:schemeClr val="bg1">
                        <a:lumMod val="95000"/>
                      </a:schemeClr>
                    </a:solidFill>
                  </a:tcPr>
                </a:tc>
                <a:extLst>
                  <a:ext uri="{0D108BD9-81ED-4DB2-BD59-A6C34878D82A}">
                    <a16:rowId xmlns:a16="http://schemas.microsoft.com/office/drawing/2014/main" val="273960989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b="1" kern="100" dirty="0">
                          <a:effectLst/>
                          <a:latin typeface="Verdana" panose="020B0604030504040204" pitchFamily="34" charset="0"/>
                          <a:ea typeface="Calibri" panose="020F0502020204030204" pitchFamily="34" charset="0"/>
                          <a:cs typeface="Times New Roman" panose="02020603050405020304" pitchFamily="18" charset="0"/>
                        </a:rPr>
                        <a:t>Samaritertjeneste</a:t>
                      </a:r>
                    </a:p>
                    <a:p>
                      <a:endParaRPr lang="da-DK" sz="1200" b="1" dirty="0"/>
                    </a:p>
                  </a:txBody>
                  <a:tcPr>
                    <a:solidFill>
                      <a:schemeClr val="bg1">
                        <a:lumMod val="95000"/>
                      </a:schemeClr>
                    </a:solidFill>
                  </a:tcPr>
                </a:tc>
                <a:tc>
                  <a:txBody>
                    <a:bodyPr/>
                    <a:lstStyle/>
                    <a:p>
                      <a:endParaRPr lang="da-DK" sz="1200" b="1" dirty="0"/>
                    </a:p>
                  </a:txBody>
                  <a:tcPr>
                    <a:solidFill>
                      <a:schemeClr val="bg1">
                        <a:lumMod val="95000"/>
                      </a:schemeClr>
                    </a:solidFill>
                  </a:tcPr>
                </a:tc>
                <a:extLst>
                  <a:ext uri="{0D108BD9-81ED-4DB2-BD59-A6C34878D82A}">
                    <a16:rowId xmlns:a16="http://schemas.microsoft.com/office/drawing/2014/main" val="3753196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b="1" kern="100" dirty="0">
                          <a:latin typeface="Verdana" panose="020B0604030504040204" pitchFamily="34" charset="0"/>
                          <a:ea typeface="Calibri" panose="020F0502020204030204" pitchFamily="34" charset="0"/>
                          <a:cs typeface="Times New Roman" panose="02020603050405020304" pitchFamily="18" charset="0"/>
                        </a:rPr>
                        <a:t>A</a:t>
                      </a:r>
                      <a:r>
                        <a:rPr lang="da-DK" sz="1200" b="1" kern="100" dirty="0">
                          <a:effectLst/>
                          <a:latin typeface="Verdana" panose="020B0604030504040204" pitchFamily="34" charset="0"/>
                          <a:ea typeface="Calibri" panose="020F0502020204030204" pitchFamily="34" charset="0"/>
                          <a:cs typeface="Times New Roman" panose="02020603050405020304" pitchFamily="18" charset="0"/>
                        </a:rPr>
                        <a:t>ndre (landsindsamling, cafe mv.)</a:t>
                      </a:r>
                    </a:p>
                    <a:p>
                      <a:endParaRPr lang="da-DK" sz="1200" b="1" dirty="0"/>
                    </a:p>
                  </a:txBody>
                  <a:tcPr>
                    <a:solidFill>
                      <a:schemeClr val="bg1">
                        <a:lumMod val="95000"/>
                      </a:schemeClr>
                    </a:solidFill>
                  </a:tcPr>
                </a:tc>
                <a:tc>
                  <a:txBody>
                    <a:bodyPr/>
                    <a:lstStyle/>
                    <a:p>
                      <a:endParaRPr lang="da-DK" sz="1200" b="1" dirty="0"/>
                    </a:p>
                  </a:txBody>
                  <a:tcPr>
                    <a:solidFill>
                      <a:schemeClr val="bg1">
                        <a:lumMod val="95000"/>
                      </a:schemeClr>
                    </a:solidFill>
                  </a:tcPr>
                </a:tc>
                <a:extLst>
                  <a:ext uri="{0D108BD9-81ED-4DB2-BD59-A6C34878D82A}">
                    <a16:rowId xmlns:a16="http://schemas.microsoft.com/office/drawing/2014/main" val="3347221916"/>
                  </a:ext>
                </a:extLst>
              </a:tr>
              <a:tr h="370840">
                <a:tc>
                  <a:txBody>
                    <a:bodyPr/>
                    <a:lstStyle/>
                    <a:p>
                      <a:endParaRPr lang="da-DK" sz="1200" b="1" dirty="0"/>
                    </a:p>
                  </a:txBody>
                  <a:tcPr>
                    <a:solidFill>
                      <a:schemeClr val="bg1">
                        <a:lumMod val="95000"/>
                      </a:schemeClr>
                    </a:solidFill>
                  </a:tcPr>
                </a:tc>
                <a:tc>
                  <a:txBody>
                    <a:bodyPr/>
                    <a:lstStyle/>
                    <a:p>
                      <a:endParaRPr lang="da-DK" sz="1200" b="1" dirty="0"/>
                    </a:p>
                  </a:txBody>
                  <a:tcPr>
                    <a:solidFill>
                      <a:schemeClr val="bg1">
                        <a:lumMod val="95000"/>
                      </a:schemeClr>
                    </a:solidFill>
                  </a:tcPr>
                </a:tc>
                <a:extLst>
                  <a:ext uri="{0D108BD9-81ED-4DB2-BD59-A6C34878D82A}">
                    <a16:rowId xmlns:a16="http://schemas.microsoft.com/office/drawing/2014/main" val="3311906373"/>
                  </a:ext>
                </a:extLst>
              </a:tr>
            </a:tbl>
          </a:graphicData>
        </a:graphic>
      </p:graphicFrame>
      <p:graphicFrame>
        <p:nvGraphicFramePr>
          <p:cNvPr id="7" name="Tabel 6">
            <a:extLst>
              <a:ext uri="{FF2B5EF4-FFF2-40B4-BE49-F238E27FC236}">
                <a16:creationId xmlns:a16="http://schemas.microsoft.com/office/drawing/2014/main" id="{0E69598F-E8B1-A045-2015-9050D620C43C}"/>
              </a:ext>
            </a:extLst>
          </p:cNvPr>
          <p:cNvGraphicFramePr>
            <a:graphicFrameLocks noGrp="1"/>
          </p:cNvGraphicFramePr>
          <p:nvPr>
            <p:extLst>
              <p:ext uri="{D42A27DB-BD31-4B8C-83A1-F6EECF244321}">
                <p14:modId xmlns:p14="http://schemas.microsoft.com/office/powerpoint/2010/main" val="3658441287"/>
              </p:ext>
            </p:extLst>
          </p:nvPr>
        </p:nvGraphicFramePr>
        <p:xfrm>
          <a:off x="816173" y="2316191"/>
          <a:ext cx="10487136" cy="3685402"/>
        </p:xfrm>
        <a:graphic>
          <a:graphicData uri="http://schemas.openxmlformats.org/drawingml/2006/table">
            <a:tbl>
              <a:tblPr firstRow="1" bandRow="1">
                <a:tableStyleId>{5C22544A-7EE6-4342-B048-85BDC9FD1C3A}</a:tableStyleId>
              </a:tblPr>
              <a:tblGrid>
                <a:gridCol w="2632106">
                  <a:extLst>
                    <a:ext uri="{9D8B030D-6E8A-4147-A177-3AD203B41FA5}">
                      <a16:colId xmlns:a16="http://schemas.microsoft.com/office/drawing/2014/main" val="3314588055"/>
                    </a:ext>
                  </a:extLst>
                </a:gridCol>
                <a:gridCol w="2633031">
                  <a:extLst>
                    <a:ext uri="{9D8B030D-6E8A-4147-A177-3AD203B41FA5}">
                      <a16:colId xmlns:a16="http://schemas.microsoft.com/office/drawing/2014/main" val="453677051"/>
                    </a:ext>
                  </a:extLst>
                </a:gridCol>
                <a:gridCol w="2566934">
                  <a:extLst>
                    <a:ext uri="{9D8B030D-6E8A-4147-A177-3AD203B41FA5}">
                      <a16:colId xmlns:a16="http://schemas.microsoft.com/office/drawing/2014/main" val="2727224556"/>
                    </a:ext>
                  </a:extLst>
                </a:gridCol>
                <a:gridCol w="2655065">
                  <a:extLst>
                    <a:ext uri="{9D8B030D-6E8A-4147-A177-3AD203B41FA5}">
                      <a16:colId xmlns:a16="http://schemas.microsoft.com/office/drawing/2014/main" val="800161061"/>
                    </a:ext>
                  </a:extLst>
                </a:gridCol>
              </a:tblGrid>
              <a:tr h="564248">
                <a:tc>
                  <a:txBody>
                    <a:bodyPr/>
                    <a:lstStyle/>
                    <a:p>
                      <a:pPr algn="ctr"/>
                      <a:r>
                        <a:rPr lang="da-DK" sz="1200" dirty="0"/>
                        <a:t>FRIE MIDLER</a:t>
                      </a:r>
                    </a:p>
                  </a:txBody>
                  <a:tcPr>
                    <a:solidFill>
                      <a:srgbClr val="00B050"/>
                    </a:solidFill>
                  </a:tcPr>
                </a:tc>
                <a:tc>
                  <a:txBody>
                    <a:bodyPr/>
                    <a:lstStyle/>
                    <a:p>
                      <a:pPr algn="ctr"/>
                      <a:r>
                        <a:rPr lang="da-DK" sz="1200" dirty="0"/>
                        <a:t>ØREMÆRKEDE MIDLER</a:t>
                      </a:r>
                    </a:p>
                  </a:txBody>
                  <a:tcPr>
                    <a:solidFill>
                      <a:srgbClr val="00B05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1200" b="1" dirty="0"/>
                        <a:t>INDTÆGTS-GENERERENDE AKTIVITETER</a:t>
                      </a:r>
                      <a:br>
                        <a:rPr lang="da-DK" sz="1200" b="1" dirty="0"/>
                      </a:br>
                      <a:r>
                        <a:rPr lang="da-DK" sz="700" dirty="0"/>
                        <a:t>(INTERNE INDTÆGTER)</a:t>
                      </a:r>
                      <a:endParaRPr lang="da-DK" sz="1200" dirty="0"/>
                    </a:p>
                  </a:txBody>
                  <a:tcPr>
                    <a:solidFill>
                      <a:srgbClr val="00B05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1200" b="1" dirty="0"/>
                        <a:t>SOCIALE</a:t>
                      </a:r>
                      <a:br>
                        <a:rPr lang="da-DK" sz="1200" b="1" dirty="0"/>
                      </a:br>
                      <a:r>
                        <a:rPr lang="da-DK" sz="1200" b="1" dirty="0"/>
                        <a:t>AKTIVITETER</a:t>
                      </a:r>
                      <a:br>
                        <a:rPr lang="da-DK" sz="1200" b="1" dirty="0"/>
                      </a:br>
                      <a:r>
                        <a:rPr lang="da-DK" sz="700" dirty="0"/>
                        <a:t>(EKSTERNE INDTÆGTER)</a:t>
                      </a:r>
                      <a:endParaRPr lang="da-DK" sz="1200" b="1" dirty="0"/>
                    </a:p>
                  </a:txBody>
                  <a:tcPr>
                    <a:solidFill>
                      <a:srgbClr val="00B050"/>
                    </a:solidFill>
                  </a:tcPr>
                </a:tc>
                <a:extLst>
                  <a:ext uri="{0D108BD9-81ED-4DB2-BD59-A6C34878D82A}">
                    <a16:rowId xmlns:a16="http://schemas.microsoft.com/office/drawing/2014/main" val="2150440899"/>
                  </a:ext>
                </a:extLst>
              </a:tr>
              <a:tr h="37108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00" cap="none" spc="0" normalizeH="0" baseline="0" noProof="0" dirty="0">
                          <a:ln>
                            <a:noFill/>
                          </a:ln>
                          <a:solidFill>
                            <a:prstClr val="black"/>
                          </a:solidFill>
                          <a:effectLst/>
                          <a:uLnTx/>
                          <a:uFillTx/>
                          <a:latin typeface="Verdana" panose="020B0604030504040204" pitchFamily="34" charset="0"/>
                          <a:ea typeface="Calibri" panose="020F0502020204030204" pitchFamily="34" charset="0"/>
                          <a:cs typeface="Times New Roman" panose="02020603050405020304" pitchFamily="18" charset="0"/>
                        </a:rPr>
                        <a:t>Butik</a:t>
                      </a:r>
                    </a:p>
                  </a:txBody>
                  <a:tcPr>
                    <a:solidFill>
                      <a:schemeClr val="bg1">
                        <a:lumMod val="95000"/>
                      </a:schemeClr>
                    </a:solidFill>
                  </a:tcPr>
                </a:tc>
                <a:tc>
                  <a:txBody>
                    <a:bodyPr/>
                    <a:lstStyle/>
                    <a:p>
                      <a:r>
                        <a:rPr lang="da-DK" sz="1200" b="1" dirty="0"/>
                        <a:t>Bevillinger (fx §18)</a:t>
                      </a:r>
                    </a:p>
                  </a:txBody>
                  <a:tcPr>
                    <a:solidFill>
                      <a:schemeClr val="bg1">
                        <a:lumMod val="95000"/>
                      </a:schemeClr>
                    </a:solidFill>
                  </a:tcPr>
                </a:tc>
                <a:tc>
                  <a:txBody>
                    <a:bodyPr/>
                    <a:lstStyle/>
                    <a:p>
                      <a:r>
                        <a:rPr lang="da-DK" sz="1200" b="1" kern="100" dirty="0">
                          <a:effectLst/>
                          <a:latin typeface="Verdana" panose="020B0604030504040204" pitchFamily="34" charset="0"/>
                          <a:ea typeface="Calibri" panose="020F0502020204030204" pitchFamily="34" charset="0"/>
                          <a:cs typeface="Times New Roman" panose="02020603050405020304" pitchFamily="18" charset="0"/>
                        </a:rPr>
                        <a:t>Butik</a:t>
                      </a:r>
                    </a:p>
                  </a:txBody>
                  <a:tcPr>
                    <a:solidFill>
                      <a:schemeClr val="bg1">
                        <a:lumMod val="95000"/>
                      </a:schemeClr>
                    </a:solidFill>
                  </a:tcPr>
                </a:tc>
                <a:tc>
                  <a:txBody>
                    <a:bodyPr/>
                    <a:lstStyle/>
                    <a:p>
                      <a:r>
                        <a:rPr lang="da-DK" sz="1200" b="1" kern="100" dirty="0">
                          <a:effectLst/>
                          <a:latin typeface="Verdana" panose="020B0604030504040204" pitchFamily="34" charset="0"/>
                          <a:ea typeface="Calibri" panose="020F0502020204030204" pitchFamily="34" charset="0"/>
                          <a:cs typeface="Times New Roman" panose="02020603050405020304" pitchFamily="18" charset="0"/>
                        </a:rPr>
                        <a:t>Bevillinger (fx §18)</a:t>
                      </a:r>
                    </a:p>
                  </a:txBody>
                  <a:tcPr>
                    <a:solidFill>
                      <a:schemeClr val="bg1">
                        <a:lumMod val="95000"/>
                      </a:schemeClr>
                    </a:solidFill>
                  </a:tcPr>
                </a:tc>
                <a:extLst>
                  <a:ext uri="{0D108BD9-81ED-4DB2-BD59-A6C34878D82A}">
                    <a16:rowId xmlns:a16="http://schemas.microsoft.com/office/drawing/2014/main" val="4250012001"/>
                  </a:ext>
                </a:extLst>
              </a:tr>
              <a:tr h="45749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00" cap="none" spc="0" normalizeH="0" baseline="0" noProof="0" dirty="0">
                          <a:ln>
                            <a:noFill/>
                          </a:ln>
                          <a:solidFill>
                            <a:prstClr val="black"/>
                          </a:solidFill>
                          <a:effectLst/>
                          <a:uLnTx/>
                          <a:uFillTx/>
                          <a:latin typeface="Verdana" panose="020B0604030504040204" pitchFamily="34" charset="0"/>
                          <a:ea typeface="Calibri" panose="020F0502020204030204" pitchFamily="34" charset="0"/>
                          <a:cs typeface="Times New Roman" panose="02020603050405020304" pitchFamily="18" charset="0"/>
                        </a:rPr>
                        <a:t>Medlemskontingent</a:t>
                      </a:r>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b="1" dirty="0"/>
                        <a:t>Donationer</a:t>
                      </a:r>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b="1" kern="100" dirty="0">
                          <a:effectLst/>
                          <a:latin typeface="Verdana" panose="020B0604030504040204" pitchFamily="34" charset="0"/>
                          <a:ea typeface="Calibri" panose="020F0502020204030204" pitchFamily="34" charset="0"/>
                          <a:cs typeface="Times New Roman" panose="02020603050405020304" pitchFamily="18" charset="0"/>
                        </a:rPr>
                        <a:t>Medl</a:t>
                      </a:r>
                      <a:r>
                        <a:rPr lang="da-DK" sz="1200" b="1" kern="100" dirty="0">
                          <a:latin typeface="Verdana" panose="020B0604030504040204" pitchFamily="34" charset="0"/>
                          <a:ea typeface="Calibri" panose="020F0502020204030204" pitchFamily="34" charset="0"/>
                          <a:cs typeface="Times New Roman" panose="02020603050405020304" pitchFamily="18" charset="0"/>
                        </a:rPr>
                        <a:t>emskontingent</a:t>
                      </a:r>
                    </a:p>
                  </a:txBody>
                  <a:tcPr>
                    <a:solidFill>
                      <a:schemeClr val="bg1">
                        <a:lumMod val="95000"/>
                      </a:schemeClr>
                    </a:solidFill>
                  </a:tcPr>
                </a:tc>
                <a:tc>
                  <a:txBody>
                    <a:bodyPr/>
                    <a:lstStyle/>
                    <a:p>
                      <a:r>
                        <a:rPr lang="da-DK" sz="1200" b="1" kern="100" dirty="0">
                          <a:latin typeface="Verdana" panose="020B0604030504040204" pitchFamily="34" charset="0"/>
                          <a:ea typeface="Calibri" panose="020F0502020204030204" pitchFamily="34" charset="0"/>
                          <a:cs typeface="Times New Roman" panose="02020603050405020304" pitchFamily="18" charset="0"/>
                        </a:rPr>
                        <a:t>D</a:t>
                      </a:r>
                      <a:r>
                        <a:rPr lang="da-DK" sz="1200" b="1" kern="100" dirty="0">
                          <a:effectLst/>
                          <a:latin typeface="Verdana" panose="020B0604030504040204" pitchFamily="34" charset="0"/>
                          <a:ea typeface="Calibri" panose="020F0502020204030204" pitchFamily="34" charset="0"/>
                          <a:cs typeface="Times New Roman" panose="02020603050405020304" pitchFamily="18" charset="0"/>
                        </a:rPr>
                        <a:t>onationer</a:t>
                      </a:r>
                    </a:p>
                    <a:p>
                      <a:endParaRPr lang="da-DK" sz="1200" b="1" dirty="0"/>
                    </a:p>
                  </a:txBody>
                  <a:tcPr>
                    <a:solidFill>
                      <a:schemeClr val="bg1">
                        <a:lumMod val="95000"/>
                      </a:schemeClr>
                    </a:solidFill>
                  </a:tcPr>
                </a:tc>
                <a:extLst>
                  <a:ext uri="{0D108BD9-81ED-4DB2-BD59-A6C34878D82A}">
                    <a16:rowId xmlns:a16="http://schemas.microsoft.com/office/drawing/2014/main" val="288334655"/>
                  </a:ext>
                </a:extLst>
              </a:tr>
              <a:tr h="8234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00" cap="none" spc="0" normalizeH="0" baseline="0" noProof="0" dirty="0">
                          <a:ln>
                            <a:noFill/>
                          </a:ln>
                          <a:solidFill>
                            <a:prstClr val="black"/>
                          </a:solidFill>
                          <a:effectLst/>
                          <a:uLnTx/>
                          <a:uFillTx/>
                          <a:latin typeface="Verdana" panose="020B0604030504040204" pitchFamily="34" charset="0"/>
                          <a:ea typeface="Calibri" panose="020F0502020204030204" pitchFamily="34" charset="0"/>
                          <a:cs typeface="Times New Roman" panose="02020603050405020304" pitchFamily="18" charset="0"/>
                        </a:rPr>
                        <a:t>Førstehjælpskurser </a:t>
                      </a:r>
                    </a:p>
                  </a:txBody>
                  <a:tcPr>
                    <a:solidFill>
                      <a:schemeClr val="bg1">
                        <a:lumMod val="95000"/>
                      </a:schemeClr>
                    </a:solidFill>
                  </a:tcPr>
                </a:tc>
                <a:tc>
                  <a:txBody>
                    <a:bodyPr/>
                    <a:lstStyle/>
                    <a:p>
                      <a:r>
                        <a:rPr lang="da-DK" sz="1200" b="1" dirty="0"/>
                        <a:t>Arv</a:t>
                      </a:r>
                    </a:p>
                    <a:p>
                      <a:r>
                        <a:rPr lang="da-DK" sz="1100" b="0" dirty="0"/>
                        <a:t>(jf. vejledning 6h Bogføring – øremærkede midler, hensættelser mv.)</a:t>
                      </a:r>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b="1" kern="100" dirty="0">
                          <a:latin typeface="Verdana" panose="020B0604030504040204" pitchFamily="34" charset="0"/>
                          <a:ea typeface="Calibri" panose="020F0502020204030204" pitchFamily="34" charset="0"/>
                          <a:cs typeface="Times New Roman" panose="02020603050405020304" pitchFamily="18" charset="0"/>
                        </a:rPr>
                        <a:t>F</a:t>
                      </a:r>
                      <a:r>
                        <a:rPr lang="da-DK" sz="1200" b="1" kern="100" dirty="0">
                          <a:effectLst/>
                          <a:latin typeface="Verdana" panose="020B0604030504040204" pitchFamily="34" charset="0"/>
                          <a:ea typeface="Calibri" panose="020F0502020204030204" pitchFamily="34" charset="0"/>
                          <a:cs typeface="Times New Roman" panose="02020603050405020304" pitchFamily="18" charset="0"/>
                        </a:rPr>
                        <a:t>ørstehjælpskurser </a:t>
                      </a:r>
                    </a:p>
                    <a:p>
                      <a:endParaRPr lang="da-DK" sz="1200" b="1" dirty="0"/>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b="1" kern="100" dirty="0">
                          <a:latin typeface="Verdana" panose="020B0604030504040204" pitchFamily="34" charset="0"/>
                          <a:ea typeface="Calibri" panose="020F0502020204030204" pitchFamily="34" charset="0"/>
                          <a:cs typeface="Times New Roman" panose="02020603050405020304" pitchFamily="18" charset="0"/>
                        </a:rPr>
                        <a:t>A</a:t>
                      </a:r>
                      <a:r>
                        <a:rPr lang="da-DK" sz="1200" b="1" kern="100" dirty="0">
                          <a:effectLst/>
                          <a:latin typeface="Verdana" panose="020B0604030504040204" pitchFamily="34" charset="0"/>
                          <a:ea typeface="Calibri" panose="020F0502020204030204" pitchFamily="34" charset="0"/>
                          <a:cs typeface="Times New Roman" panose="02020603050405020304" pitchFamily="18" charset="0"/>
                        </a:rPr>
                        <a:t>rv</a:t>
                      </a:r>
                    </a:p>
                  </a:txBody>
                  <a:tcPr>
                    <a:solidFill>
                      <a:schemeClr val="bg1">
                        <a:lumMod val="95000"/>
                      </a:schemeClr>
                    </a:solidFill>
                  </a:tcPr>
                </a:tc>
                <a:extLst>
                  <a:ext uri="{0D108BD9-81ED-4DB2-BD59-A6C34878D82A}">
                    <a16:rowId xmlns:a16="http://schemas.microsoft.com/office/drawing/2014/main" val="2739609895"/>
                  </a:ext>
                </a:extLst>
              </a:tr>
              <a:tr h="45749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00" cap="none" spc="0" normalizeH="0" baseline="0" noProof="0" dirty="0">
                          <a:ln>
                            <a:noFill/>
                          </a:ln>
                          <a:solidFill>
                            <a:prstClr val="black"/>
                          </a:solidFill>
                          <a:effectLst/>
                          <a:uLnTx/>
                          <a:uFillTx/>
                          <a:latin typeface="Verdana" panose="020B0604030504040204" pitchFamily="34" charset="0"/>
                          <a:ea typeface="Calibri" panose="020F0502020204030204" pitchFamily="34" charset="0"/>
                          <a:cs typeface="Times New Roman" panose="02020603050405020304" pitchFamily="18" charset="0"/>
                        </a:rPr>
                        <a:t>Samaritertjeneste</a:t>
                      </a:r>
                    </a:p>
                  </a:txBody>
                  <a:tcPr>
                    <a:solidFill>
                      <a:schemeClr val="bg1">
                        <a:lumMod val="95000"/>
                      </a:schemeClr>
                    </a:solidFill>
                  </a:tcPr>
                </a:tc>
                <a:tc>
                  <a:txBody>
                    <a:bodyPr/>
                    <a:lstStyle/>
                    <a:p>
                      <a:endParaRPr lang="da-DK" sz="1200" b="1" dirty="0"/>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b="1" kern="100" dirty="0">
                          <a:effectLst/>
                          <a:latin typeface="Verdana" panose="020B0604030504040204" pitchFamily="34" charset="0"/>
                          <a:ea typeface="Calibri" panose="020F0502020204030204" pitchFamily="34" charset="0"/>
                          <a:cs typeface="Times New Roman" panose="02020603050405020304" pitchFamily="18" charset="0"/>
                        </a:rPr>
                        <a:t>Samaritertjeneste</a:t>
                      </a:r>
                    </a:p>
                    <a:p>
                      <a:endParaRPr lang="da-DK" sz="1200" b="1" dirty="0"/>
                    </a:p>
                  </a:txBody>
                  <a:tcPr>
                    <a:solidFill>
                      <a:schemeClr val="bg1">
                        <a:lumMod val="95000"/>
                      </a:schemeClr>
                    </a:solidFill>
                  </a:tcPr>
                </a:tc>
                <a:tc>
                  <a:txBody>
                    <a:bodyPr/>
                    <a:lstStyle/>
                    <a:p>
                      <a:endParaRPr lang="da-DK" sz="1200" b="1" dirty="0"/>
                    </a:p>
                  </a:txBody>
                  <a:tcPr>
                    <a:solidFill>
                      <a:schemeClr val="bg1">
                        <a:lumMod val="95000"/>
                      </a:schemeClr>
                    </a:solidFill>
                  </a:tcPr>
                </a:tc>
                <a:extLst>
                  <a:ext uri="{0D108BD9-81ED-4DB2-BD59-A6C34878D82A}">
                    <a16:rowId xmlns:a16="http://schemas.microsoft.com/office/drawing/2014/main" val="37531960"/>
                  </a:ext>
                </a:extLst>
              </a:tr>
              <a:tr h="6404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00" cap="none" spc="0" normalizeH="0" baseline="0" noProof="0" dirty="0">
                          <a:ln>
                            <a:noFill/>
                          </a:ln>
                          <a:solidFill>
                            <a:prstClr val="black"/>
                          </a:solidFill>
                          <a:effectLst/>
                          <a:uLnTx/>
                          <a:uFillTx/>
                          <a:latin typeface="Verdana" panose="020B0604030504040204" pitchFamily="34" charset="0"/>
                          <a:ea typeface="Calibri" panose="020F0502020204030204" pitchFamily="34" charset="0"/>
                          <a:cs typeface="Times New Roman" panose="02020603050405020304" pitchFamily="18" charset="0"/>
                        </a:rPr>
                        <a:t>Andre (donationer, arv)</a:t>
                      </a:r>
                      <a:endParaRPr kumimoji="0" lang="da-DK" sz="1200" b="1" i="0" u="none" strike="noStrike" kern="1200" cap="none" spc="0" normalizeH="0" baseline="0" noProof="0" dirty="0">
                        <a:ln>
                          <a:noFill/>
                        </a:ln>
                        <a:solidFill>
                          <a:prstClr val="black"/>
                        </a:solidFill>
                        <a:effectLst/>
                        <a:uLnTx/>
                        <a:uFillTx/>
                        <a:latin typeface="+mn-lt"/>
                        <a:ea typeface="+mn-ea"/>
                        <a:cs typeface="+mn-cs"/>
                      </a:endParaRPr>
                    </a:p>
                  </a:txBody>
                  <a:tcPr>
                    <a:solidFill>
                      <a:schemeClr val="bg1">
                        <a:lumMod val="95000"/>
                      </a:schemeClr>
                    </a:solidFill>
                  </a:tcPr>
                </a:tc>
                <a:tc>
                  <a:txBody>
                    <a:bodyPr/>
                    <a:lstStyle/>
                    <a:p>
                      <a:endParaRPr lang="da-DK" sz="1200" b="1" dirty="0"/>
                    </a:p>
                  </a:txBody>
                  <a:tcP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b="1" kern="100" dirty="0">
                          <a:latin typeface="Verdana" panose="020B0604030504040204" pitchFamily="34" charset="0"/>
                          <a:ea typeface="Calibri" panose="020F0502020204030204" pitchFamily="34" charset="0"/>
                          <a:cs typeface="Times New Roman" panose="02020603050405020304" pitchFamily="18" charset="0"/>
                        </a:rPr>
                        <a:t>A</a:t>
                      </a:r>
                      <a:r>
                        <a:rPr lang="da-DK" sz="1200" b="1" kern="100" dirty="0">
                          <a:effectLst/>
                          <a:latin typeface="Verdana" panose="020B0604030504040204" pitchFamily="34" charset="0"/>
                          <a:ea typeface="Calibri" panose="020F0502020204030204" pitchFamily="34" charset="0"/>
                          <a:cs typeface="Times New Roman" panose="02020603050405020304" pitchFamily="18" charset="0"/>
                        </a:rPr>
                        <a:t>ndre (landsindsamling, cafe mv.)</a:t>
                      </a:r>
                    </a:p>
                    <a:p>
                      <a:endParaRPr lang="da-DK" sz="1200" b="1" dirty="0"/>
                    </a:p>
                  </a:txBody>
                  <a:tcPr>
                    <a:solidFill>
                      <a:schemeClr val="bg1">
                        <a:lumMod val="95000"/>
                      </a:schemeClr>
                    </a:solidFill>
                  </a:tcPr>
                </a:tc>
                <a:tc>
                  <a:txBody>
                    <a:bodyPr/>
                    <a:lstStyle/>
                    <a:p>
                      <a:endParaRPr lang="da-DK" sz="1200" b="1" dirty="0"/>
                    </a:p>
                  </a:txBody>
                  <a:tcPr>
                    <a:solidFill>
                      <a:schemeClr val="bg1">
                        <a:lumMod val="95000"/>
                      </a:schemeClr>
                    </a:solidFill>
                  </a:tcPr>
                </a:tc>
                <a:extLst>
                  <a:ext uri="{0D108BD9-81ED-4DB2-BD59-A6C34878D82A}">
                    <a16:rowId xmlns:a16="http://schemas.microsoft.com/office/drawing/2014/main" val="3347221916"/>
                  </a:ext>
                </a:extLst>
              </a:tr>
              <a:tr h="37108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1" i="0" u="none" strike="noStrike" kern="1200" cap="none" spc="0" normalizeH="0" baseline="0" noProof="0" dirty="0">
                        <a:ln>
                          <a:noFill/>
                        </a:ln>
                        <a:solidFill>
                          <a:prstClr val="black"/>
                        </a:solidFill>
                        <a:effectLst/>
                        <a:uLnTx/>
                        <a:uFillTx/>
                        <a:latin typeface="+mn-lt"/>
                        <a:ea typeface="+mn-ea"/>
                        <a:cs typeface="+mn-cs"/>
                      </a:endParaRPr>
                    </a:p>
                  </a:txBody>
                  <a:tcPr>
                    <a:solidFill>
                      <a:schemeClr val="bg1">
                        <a:lumMod val="95000"/>
                      </a:schemeClr>
                    </a:solidFill>
                  </a:tcPr>
                </a:tc>
                <a:tc>
                  <a:txBody>
                    <a:bodyPr/>
                    <a:lstStyle/>
                    <a:p>
                      <a:endParaRPr lang="da-DK" sz="1200" b="1" dirty="0"/>
                    </a:p>
                  </a:txBody>
                  <a:tcPr>
                    <a:solidFill>
                      <a:schemeClr val="bg1">
                        <a:lumMod val="95000"/>
                      </a:schemeClr>
                    </a:solidFill>
                  </a:tcPr>
                </a:tc>
                <a:tc>
                  <a:txBody>
                    <a:bodyPr/>
                    <a:lstStyle/>
                    <a:p>
                      <a:endParaRPr lang="da-DK" sz="1200" b="1" dirty="0"/>
                    </a:p>
                  </a:txBody>
                  <a:tcPr>
                    <a:solidFill>
                      <a:schemeClr val="bg1">
                        <a:lumMod val="95000"/>
                      </a:schemeClr>
                    </a:solidFill>
                  </a:tcPr>
                </a:tc>
                <a:tc>
                  <a:txBody>
                    <a:bodyPr/>
                    <a:lstStyle/>
                    <a:p>
                      <a:endParaRPr lang="da-DK" sz="1200" b="1" dirty="0"/>
                    </a:p>
                  </a:txBody>
                  <a:tcPr>
                    <a:solidFill>
                      <a:schemeClr val="bg1">
                        <a:lumMod val="95000"/>
                      </a:schemeClr>
                    </a:solidFill>
                  </a:tcPr>
                </a:tc>
                <a:extLst>
                  <a:ext uri="{0D108BD9-81ED-4DB2-BD59-A6C34878D82A}">
                    <a16:rowId xmlns:a16="http://schemas.microsoft.com/office/drawing/2014/main" val="3311906373"/>
                  </a:ext>
                </a:extLst>
              </a:tr>
            </a:tbl>
          </a:graphicData>
        </a:graphic>
      </p:graphicFrame>
    </p:spTree>
    <p:extLst>
      <p:ext uri="{BB962C8B-B14F-4D97-AF65-F5344CB8AC3E}">
        <p14:creationId xmlns:p14="http://schemas.microsoft.com/office/powerpoint/2010/main" val="24757136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2146D5E-8662-0C89-77C3-06BD5B986D91}"/>
              </a:ext>
            </a:extLst>
          </p:cNvPr>
          <p:cNvSpPr>
            <a:spLocks noGrp="1"/>
          </p:cNvSpPr>
          <p:nvPr>
            <p:ph type="title"/>
          </p:nvPr>
        </p:nvSpPr>
        <p:spPr/>
        <p:txBody>
          <a:bodyPr/>
          <a:lstStyle/>
          <a:p>
            <a:r>
              <a:rPr lang="da-DK" dirty="0"/>
              <a:t>Økonomien i en Røde Kors afdeling</a:t>
            </a:r>
          </a:p>
        </p:txBody>
      </p:sp>
      <p:sp>
        <p:nvSpPr>
          <p:cNvPr id="4" name="Pladsholder til sidefod 3">
            <a:extLst>
              <a:ext uri="{FF2B5EF4-FFF2-40B4-BE49-F238E27FC236}">
                <a16:creationId xmlns:a16="http://schemas.microsoft.com/office/drawing/2014/main" id="{2A57CC27-378D-4BAC-21B8-709A6911F3C7}"/>
              </a:ext>
            </a:extLst>
          </p:cNvPr>
          <p:cNvSpPr>
            <a:spLocks noGrp="1"/>
          </p:cNvSpPr>
          <p:nvPr>
            <p:ph type="ftr" sz="quarter" idx="11"/>
          </p:nvPr>
        </p:nvSpPr>
        <p:spPr/>
        <p:txBody>
          <a:bodyPr/>
          <a:lstStyle/>
          <a:p>
            <a:r>
              <a:rPr lang="da-DK"/>
              <a:t>RØDE KORS / Introduktionskursus for nye kasserere / 2025</a:t>
            </a:r>
          </a:p>
        </p:txBody>
      </p:sp>
      <p:graphicFrame>
        <p:nvGraphicFramePr>
          <p:cNvPr id="5" name="Tabel 4">
            <a:extLst>
              <a:ext uri="{FF2B5EF4-FFF2-40B4-BE49-F238E27FC236}">
                <a16:creationId xmlns:a16="http://schemas.microsoft.com/office/drawing/2014/main" id="{D27E5886-4EA5-38CC-5D3A-CE35D1D6C59C}"/>
              </a:ext>
            </a:extLst>
          </p:cNvPr>
          <p:cNvGraphicFramePr>
            <a:graphicFrameLocks noGrp="1"/>
          </p:cNvGraphicFramePr>
          <p:nvPr>
            <p:extLst>
              <p:ext uri="{D42A27DB-BD31-4B8C-83A1-F6EECF244321}">
                <p14:modId xmlns:p14="http://schemas.microsoft.com/office/powerpoint/2010/main" val="1388034056"/>
              </p:ext>
            </p:extLst>
          </p:nvPr>
        </p:nvGraphicFramePr>
        <p:xfrm>
          <a:off x="838201" y="2659796"/>
          <a:ext cx="10515597" cy="2570480"/>
        </p:xfrm>
        <a:graphic>
          <a:graphicData uri="http://schemas.openxmlformats.org/drawingml/2006/table">
            <a:tbl>
              <a:tblPr bandRow="1">
                <a:tableStyleId>{5C22544A-7EE6-4342-B048-85BDC9FD1C3A}</a:tableStyleId>
              </a:tblPr>
              <a:tblGrid>
                <a:gridCol w="3505199">
                  <a:extLst>
                    <a:ext uri="{9D8B030D-6E8A-4147-A177-3AD203B41FA5}">
                      <a16:colId xmlns:a16="http://schemas.microsoft.com/office/drawing/2014/main" val="658509704"/>
                    </a:ext>
                  </a:extLst>
                </a:gridCol>
                <a:gridCol w="3505199">
                  <a:extLst>
                    <a:ext uri="{9D8B030D-6E8A-4147-A177-3AD203B41FA5}">
                      <a16:colId xmlns:a16="http://schemas.microsoft.com/office/drawing/2014/main" val="1462378857"/>
                    </a:ext>
                  </a:extLst>
                </a:gridCol>
                <a:gridCol w="3505199">
                  <a:extLst>
                    <a:ext uri="{9D8B030D-6E8A-4147-A177-3AD203B41FA5}">
                      <a16:colId xmlns:a16="http://schemas.microsoft.com/office/drawing/2014/main" val="1600506179"/>
                    </a:ext>
                  </a:extLst>
                </a:gridCol>
              </a:tblGrid>
              <a:tr h="370840">
                <a:tc>
                  <a:txBody>
                    <a:bodyPr/>
                    <a:lstStyle/>
                    <a:p>
                      <a:r>
                        <a:rPr lang="da-DK" sz="1200" b="1" dirty="0">
                          <a:solidFill>
                            <a:schemeClr val="tx1"/>
                          </a:solidFill>
                        </a:rPr>
                        <a:t>Lokaler</a:t>
                      </a:r>
                      <a:br>
                        <a:rPr lang="da-DK" sz="1200" b="1" dirty="0">
                          <a:solidFill>
                            <a:schemeClr val="tx1"/>
                          </a:solidFill>
                        </a:rPr>
                      </a:br>
                      <a:r>
                        <a:rPr lang="da-DK" sz="1200" b="1" dirty="0">
                          <a:solidFill>
                            <a:schemeClr val="tx1"/>
                          </a:solidFill>
                        </a:rPr>
                        <a:t>(leje, varme, el mv.)</a:t>
                      </a:r>
                    </a:p>
                  </a:txBody>
                  <a:tcPr>
                    <a:solidFill>
                      <a:schemeClr val="accent2">
                        <a:lumMod val="20000"/>
                        <a:lumOff val="80000"/>
                      </a:schemeClr>
                    </a:solidFill>
                  </a:tcPr>
                </a:tc>
                <a:tc>
                  <a:txBody>
                    <a:bodyPr/>
                    <a:lstStyle/>
                    <a:p>
                      <a:r>
                        <a:rPr lang="da-DK" sz="1200" b="1" dirty="0">
                          <a:solidFill>
                            <a:schemeClr val="tx1"/>
                          </a:solidFill>
                        </a:rPr>
                        <a:t>Frivillige </a:t>
                      </a:r>
                      <a:br>
                        <a:rPr lang="da-DK" sz="1200" b="1" dirty="0">
                          <a:solidFill>
                            <a:schemeClr val="tx1"/>
                          </a:solidFill>
                        </a:rPr>
                      </a:br>
                      <a:r>
                        <a:rPr lang="da-DK" sz="1200" b="1" dirty="0">
                          <a:solidFill>
                            <a:schemeClr val="tx1"/>
                          </a:solidFill>
                        </a:rPr>
                        <a:t>(forplejning, arrangementer mv.)</a:t>
                      </a:r>
                    </a:p>
                  </a:txBody>
                  <a:tcPr>
                    <a:solidFill>
                      <a:schemeClr val="accent2">
                        <a:lumMod val="20000"/>
                        <a:lumOff val="80000"/>
                      </a:schemeClr>
                    </a:solidFill>
                  </a:tcPr>
                </a:tc>
                <a:tc>
                  <a:txBody>
                    <a:bodyPr/>
                    <a:lstStyle/>
                    <a:p>
                      <a:r>
                        <a:rPr lang="da-DK" sz="1200" b="1" dirty="0">
                          <a:solidFill>
                            <a:schemeClr val="tx1"/>
                          </a:solidFill>
                        </a:rPr>
                        <a:t>Møder</a:t>
                      </a:r>
                    </a:p>
                    <a:p>
                      <a:endParaRPr lang="da-DK" sz="1200" b="1" dirty="0">
                        <a:solidFill>
                          <a:schemeClr val="tx1"/>
                        </a:solidFill>
                      </a:endParaRPr>
                    </a:p>
                  </a:txBody>
                  <a:tcPr>
                    <a:solidFill>
                      <a:schemeClr val="accent2">
                        <a:lumMod val="20000"/>
                        <a:lumOff val="80000"/>
                      </a:schemeClr>
                    </a:solidFill>
                  </a:tcPr>
                </a:tc>
                <a:extLst>
                  <a:ext uri="{0D108BD9-81ED-4DB2-BD59-A6C34878D82A}">
                    <a16:rowId xmlns:a16="http://schemas.microsoft.com/office/drawing/2014/main" val="4250012001"/>
                  </a:ext>
                </a:extLst>
              </a:tr>
              <a:tr h="370840">
                <a:tc>
                  <a:txBody>
                    <a:bodyPr/>
                    <a:lstStyle/>
                    <a:p>
                      <a:r>
                        <a:rPr lang="da-DK" sz="1200" b="1" dirty="0"/>
                        <a:t>Køretøjer </a:t>
                      </a:r>
                      <a:br>
                        <a:rPr lang="da-DK" sz="1200" b="1" dirty="0"/>
                      </a:br>
                      <a:r>
                        <a:rPr lang="da-DK" sz="1200" b="1" dirty="0"/>
                        <a:t>(brændstof, vedligehold mv.)</a:t>
                      </a:r>
                    </a:p>
                  </a:txBody>
                  <a:tcPr>
                    <a:solidFill>
                      <a:schemeClr val="accent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b="1" dirty="0"/>
                        <a:t>Deltagere </a:t>
                      </a:r>
                      <a:br>
                        <a:rPr lang="da-DK" sz="1200" b="1" dirty="0"/>
                      </a:br>
                      <a:r>
                        <a:rPr lang="da-DK" sz="1200" b="1" dirty="0"/>
                        <a:t>(forplejning, arrangementer mv.)</a:t>
                      </a:r>
                    </a:p>
                  </a:txBody>
                  <a:tcPr>
                    <a:solidFill>
                      <a:schemeClr val="accent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b="1" dirty="0"/>
                        <a:t>Generalforsamling</a:t>
                      </a:r>
                    </a:p>
                    <a:p>
                      <a:endParaRPr lang="da-DK" sz="1200" b="1" dirty="0"/>
                    </a:p>
                  </a:txBody>
                  <a:tcPr>
                    <a:solidFill>
                      <a:schemeClr val="accent2">
                        <a:lumMod val="20000"/>
                        <a:lumOff val="80000"/>
                      </a:schemeClr>
                    </a:solidFill>
                  </a:tcPr>
                </a:tc>
                <a:extLst>
                  <a:ext uri="{0D108BD9-81ED-4DB2-BD59-A6C34878D82A}">
                    <a16:rowId xmlns:a16="http://schemas.microsoft.com/office/drawing/2014/main" val="288334655"/>
                  </a:ext>
                </a:extLst>
              </a:tr>
              <a:tr h="370840">
                <a:tc>
                  <a:txBody>
                    <a:bodyPr/>
                    <a:lstStyle/>
                    <a:p>
                      <a:r>
                        <a:rPr lang="da-DK" sz="1200" b="1" dirty="0"/>
                        <a:t>Førstehjælpskurser </a:t>
                      </a:r>
                      <a:br>
                        <a:rPr lang="da-DK" sz="1200" b="1" dirty="0"/>
                      </a:br>
                      <a:r>
                        <a:rPr lang="da-DK" sz="1200" b="1" dirty="0"/>
                        <a:t>(honorar, materialer mv.)</a:t>
                      </a:r>
                    </a:p>
                  </a:txBody>
                  <a:tcPr>
                    <a:solidFill>
                      <a:schemeClr val="accent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b="1" dirty="0"/>
                        <a:t>Forsikring</a:t>
                      </a:r>
                    </a:p>
                  </a:txBody>
                  <a:tcPr>
                    <a:solidFill>
                      <a:schemeClr val="accent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b="1" dirty="0"/>
                        <a:t>Kontorhold</a:t>
                      </a:r>
                    </a:p>
                  </a:txBody>
                  <a:tcPr>
                    <a:solidFill>
                      <a:schemeClr val="accent2">
                        <a:lumMod val="20000"/>
                        <a:lumOff val="80000"/>
                      </a:schemeClr>
                    </a:solidFill>
                  </a:tcPr>
                </a:tc>
                <a:extLst>
                  <a:ext uri="{0D108BD9-81ED-4DB2-BD59-A6C34878D82A}">
                    <a16:rowId xmlns:a16="http://schemas.microsoft.com/office/drawing/2014/main" val="273960989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b="1" dirty="0"/>
                        <a:t>Frivillige </a:t>
                      </a:r>
                      <a:br>
                        <a:rPr lang="da-DK" sz="1200" b="1" dirty="0"/>
                      </a:br>
                      <a:r>
                        <a:rPr lang="da-DK" sz="1200" b="1" dirty="0"/>
                        <a:t>(forplejning, arrangementer mv.)</a:t>
                      </a:r>
                    </a:p>
                  </a:txBody>
                  <a:tcPr>
                    <a:solidFill>
                      <a:schemeClr val="accent2">
                        <a:lumMod val="20000"/>
                        <a:lumOff val="80000"/>
                      </a:schemeClr>
                    </a:solidFill>
                  </a:tcPr>
                </a:tc>
                <a:tc>
                  <a:txBody>
                    <a:bodyPr/>
                    <a:lstStyle/>
                    <a:p>
                      <a:r>
                        <a:rPr lang="da-DK" sz="1200" b="1" dirty="0"/>
                        <a:t>…</a:t>
                      </a:r>
                    </a:p>
                  </a:txBody>
                  <a:tcPr>
                    <a:solidFill>
                      <a:schemeClr val="accent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200" b="1" dirty="0"/>
                        <a:t>Kontorlokaler</a:t>
                      </a:r>
                    </a:p>
                  </a:txBody>
                  <a:tcPr>
                    <a:solidFill>
                      <a:schemeClr val="accent2">
                        <a:lumMod val="20000"/>
                        <a:lumOff val="80000"/>
                      </a:schemeClr>
                    </a:solidFill>
                  </a:tcPr>
                </a:tc>
                <a:extLst>
                  <a:ext uri="{0D108BD9-81ED-4DB2-BD59-A6C34878D82A}">
                    <a16:rowId xmlns:a16="http://schemas.microsoft.com/office/drawing/2014/main" val="37531960"/>
                  </a:ext>
                </a:extLst>
              </a:tr>
              <a:tr h="370840">
                <a:tc>
                  <a:txBody>
                    <a:bodyPr/>
                    <a:lstStyle/>
                    <a:p>
                      <a:r>
                        <a:rPr lang="da-DK" sz="1200" b="1" dirty="0"/>
                        <a:t>Forsikring</a:t>
                      </a:r>
                    </a:p>
                  </a:txBody>
                  <a:tcPr>
                    <a:solidFill>
                      <a:schemeClr val="accent2">
                        <a:lumMod val="20000"/>
                        <a:lumOff val="80000"/>
                      </a:schemeClr>
                    </a:solidFill>
                  </a:tcPr>
                </a:tc>
                <a:tc>
                  <a:txBody>
                    <a:bodyPr/>
                    <a:lstStyle/>
                    <a:p>
                      <a:endParaRPr lang="da-DK" sz="1200" b="1" dirty="0"/>
                    </a:p>
                  </a:txBody>
                  <a:tcPr>
                    <a:solidFill>
                      <a:schemeClr val="accent2">
                        <a:lumMod val="20000"/>
                        <a:lumOff val="80000"/>
                      </a:schemeClr>
                    </a:solidFill>
                  </a:tcPr>
                </a:tc>
                <a:tc>
                  <a:txBody>
                    <a:bodyPr/>
                    <a:lstStyle/>
                    <a:p>
                      <a:r>
                        <a:rPr lang="da-DK" sz="1200" b="1" dirty="0"/>
                        <a:t>Forsikring</a:t>
                      </a:r>
                    </a:p>
                  </a:txBody>
                  <a:tcPr>
                    <a:solidFill>
                      <a:schemeClr val="accent2">
                        <a:lumMod val="20000"/>
                        <a:lumOff val="80000"/>
                      </a:schemeClr>
                    </a:solidFill>
                  </a:tcPr>
                </a:tc>
                <a:extLst>
                  <a:ext uri="{0D108BD9-81ED-4DB2-BD59-A6C34878D82A}">
                    <a16:rowId xmlns:a16="http://schemas.microsoft.com/office/drawing/2014/main" val="3347221916"/>
                  </a:ext>
                </a:extLst>
              </a:tr>
              <a:tr h="370840">
                <a:tc>
                  <a:txBody>
                    <a:bodyPr/>
                    <a:lstStyle/>
                    <a:p>
                      <a:r>
                        <a:rPr lang="da-DK" sz="1200" b="1" dirty="0"/>
                        <a:t>…</a:t>
                      </a:r>
                    </a:p>
                  </a:txBody>
                  <a:tcPr>
                    <a:solidFill>
                      <a:schemeClr val="accent2">
                        <a:lumMod val="20000"/>
                        <a:lumOff val="80000"/>
                      </a:schemeClr>
                    </a:solidFill>
                  </a:tcPr>
                </a:tc>
                <a:tc>
                  <a:txBody>
                    <a:bodyPr/>
                    <a:lstStyle/>
                    <a:p>
                      <a:endParaRPr lang="da-DK" sz="1200" b="1" dirty="0"/>
                    </a:p>
                  </a:txBody>
                  <a:tcPr>
                    <a:solidFill>
                      <a:schemeClr val="accent2">
                        <a:lumMod val="20000"/>
                        <a:lumOff val="80000"/>
                      </a:schemeClr>
                    </a:solidFill>
                  </a:tcPr>
                </a:tc>
                <a:tc>
                  <a:txBody>
                    <a:bodyPr/>
                    <a:lstStyle/>
                    <a:p>
                      <a:r>
                        <a:rPr lang="da-DK" sz="1200" b="1" dirty="0"/>
                        <a:t>…</a:t>
                      </a:r>
                    </a:p>
                  </a:txBody>
                  <a:tcPr>
                    <a:solidFill>
                      <a:schemeClr val="accent2">
                        <a:lumMod val="20000"/>
                        <a:lumOff val="80000"/>
                      </a:schemeClr>
                    </a:solidFill>
                  </a:tcPr>
                </a:tc>
                <a:extLst>
                  <a:ext uri="{0D108BD9-81ED-4DB2-BD59-A6C34878D82A}">
                    <a16:rowId xmlns:a16="http://schemas.microsoft.com/office/drawing/2014/main" val="3311906373"/>
                  </a:ext>
                </a:extLst>
              </a:tr>
            </a:tbl>
          </a:graphicData>
        </a:graphic>
      </p:graphicFrame>
      <p:sp>
        <p:nvSpPr>
          <p:cNvPr id="7" name="Tekstfelt 6">
            <a:extLst>
              <a:ext uri="{FF2B5EF4-FFF2-40B4-BE49-F238E27FC236}">
                <a16:creationId xmlns:a16="http://schemas.microsoft.com/office/drawing/2014/main" id="{0A2CB2D2-9FF1-3A8A-DC40-9BC72BE24C67}"/>
              </a:ext>
            </a:extLst>
          </p:cNvPr>
          <p:cNvSpPr txBox="1"/>
          <p:nvPr/>
        </p:nvSpPr>
        <p:spPr>
          <a:xfrm>
            <a:off x="4312021" y="1758917"/>
            <a:ext cx="3567953" cy="400110"/>
          </a:xfrm>
          <a:prstGeom prst="rect">
            <a:avLst/>
          </a:prstGeom>
          <a:noFill/>
        </p:spPr>
        <p:txBody>
          <a:bodyPr wrap="square" rtlCol="0">
            <a:spAutoFit/>
          </a:bodyPr>
          <a:lstStyle/>
          <a:p>
            <a:pPr algn="ctr"/>
            <a:r>
              <a:rPr lang="da-DK" sz="2000" b="1" dirty="0">
                <a:solidFill>
                  <a:schemeClr val="tx2">
                    <a:lumMod val="75000"/>
                  </a:schemeClr>
                </a:solidFill>
              </a:rPr>
              <a:t>UDGIFTER</a:t>
            </a:r>
          </a:p>
        </p:txBody>
      </p:sp>
      <p:graphicFrame>
        <p:nvGraphicFramePr>
          <p:cNvPr id="3" name="Tabel 2">
            <a:extLst>
              <a:ext uri="{FF2B5EF4-FFF2-40B4-BE49-F238E27FC236}">
                <a16:creationId xmlns:a16="http://schemas.microsoft.com/office/drawing/2014/main" id="{F3A83CE4-65BB-957B-5A86-448D6B38A5EA}"/>
              </a:ext>
            </a:extLst>
          </p:cNvPr>
          <p:cNvGraphicFramePr>
            <a:graphicFrameLocks noGrp="1"/>
          </p:cNvGraphicFramePr>
          <p:nvPr>
            <p:extLst>
              <p:ext uri="{D42A27DB-BD31-4B8C-83A1-F6EECF244321}">
                <p14:modId xmlns:p14="http://schemas.microsoft.com/office/powerpoint/2010/main" val="4138897089"/>
              </p:ext>
            </p:extLst>
          </p:nvPr>
        </p:nvGraphicFramePr>
        <p:xfrm>
          <a:off x="838200" y="2200200"/>
          <a:ext cx="10515597" cy="457200"/>
        </p:xfrm>
        <a:graphic>
          <a:graphicData uri="http://schemas.openxmlformats.org/drawingml/2006/table">
            <a:tbl>
              <a:tblPr firstRow="1" bandRow="1">
                <a:tableStyleId>{5C22544A-7EE6-4342-B048-85BDC9FD1C3A}</a:tableStyleId>
              </a:tblPr>
              <a:tblGrid>
                <a:gridCol w="3505199">
                  <a:extLst>
                    <a:ext uri="{9D8B030D-6E8A-4147-A177-3AD203B41FA5}">
                      <a16:colId xmlns:a16="http://schemas.microsoft.com/office/drawing/2014/main" val="383078258"/>
                    </a:ext>
                  </a:extLst>
                </a:gridCol>
                <a:gridCol w="3505199">
                  <a:extLst>
                    <a:ext uri="{9D8B030D-6E8A-4147-A177-3AD203B41FA5}">
                      <a16:colId xmlns:a16="http://schemas.microsoft.com/office/drawing/2014/main" val="3294608803"/>
                    </a:ext>
                  </a:extLst>
                </a:gridCol>
                <a:gridCol w="3505199">
                  <a:extLst>
                    <a:ext uri="{9D8B030D-6E8A-4147-A177-3AD203B41FA5}">
                      <a16:colId xmlns:a16="http://schemas.microsoft.com/office/drawing/2014/main" val="3778690854"/>
                    </a:ext>
                  </a:extLst>
                </a:gridCol>
              </a:tblGrid>
              <a:tr h="3708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1200" b="1" dirty="0"/>
                        <a:t>INDTÆGTS-GENERERENDE</a:t>
                      </a:r>
                      <a:br>
                        <a:rPr lang="da-DK" sz="1200" b="1" dirty="0"/>
                      </a:br>
                      <a:r>
                        <a:rPr lang="da-DK" sz="1200" b="1" dirty="0"/>
                        <a:t>AKTIVITETER</a:t>
                      </a:r>
                    </a:p>
                  </a:txBody>
                  <a:tcPr>
                    <a:solidFill>
                      <a:schemeClr val="accent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1200" b="1" dirty="0"/>
                        <a:t>SOCIALE</a:t>
                      </a:r>
                      <a:br>
                        <a:rPr lang="da-DK" sz="1200" b="1" dirty="0"/>
                      </a:br>
                      <a:r>
                        <a:rPr lang="da-DK" sz="1200" b="1" dirty="0"/>
                        <a:t>AKTIVITETER</a:t>
                      </a:r>
                    </a:p>
                  </a:txBody>
                  <a:tcPr>
                    <a:solidFill>
                      <a:schemeClr val="accent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sz="1200" b="1" dirty="0"/>
                        <a:t>ADMINISTRATION</a:t>
                      </a:r>
                      <a:br>
                        <a:rPr lang="da-DK" sz="1200" b="1" dirty="0"/>
                      </a:br>
                      <a:r>
                        <a:rPr lang="da-DK" sz="1200" b="1" dirty="0"/>
                        <a:t>AF AFDELINGEN</a:t>
                      </a:r>
                    </a:p>
                  </a:txBody>
                  <a:tcPr>
                    <a:solidFill>
                      <a:schemeClr val="accent1">
                        <a:lumMod val="75000"/>
                      </a:schemeClr>
                    </a:solidFill>
                  </a:tcPr>
                </a:tc>
                <a:extLst>
                  <a:ext uri="{0D108BD9-81ED-4DB2-BD59-A6C34878D82A}">
                    <a16:rowId xmlns:a16="http://schemas.microsoft.com/office/drawing/2014/main" val="502918238"/>
                  </a:ext>
                </a:extLst>
              </a:tr>
            </a:tbl>
          </a:graphicData>
        </a:graphic>
      </p:graphicFrame>
    </p:spTree>
    <p:extLst>
      <p:ext uri="{BB962C8B-B14F-4D97-AF65-F5344CB8AC3E}">
        <p14:creationId xmlns:p14="http://schemas.microsoft.com/office/powerpoint/2010/main" val="22847271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D8B79C4F-A276-6E7C-F0E8-7523787E545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5" imgH="321" progId="TCLayout.ActiveDocument.1">
                  <p:embed/>
                </p:oleObj>
              </mc:Choice>
              <mc:Fallback>
                <p:oleObj name="think-cell Slide" r:id="rId5" imgW="305" imgH="321" progId="TCLayout.ActiveDocument.1">
                  <p:embed/>
                  <p:pic>
                    <p:nvPicPr>
                      <p:cNvPr id="10" name="Object 9" hidden="1">
                        <a:extLst>
                          <a:ext uri="{FF2B5EF4-FFF2-40B4-BE49-F238E27FC236}">
                            <a16:creationId xmlns:a16="http://schemas.microsoft.com/office/drawing/2014/main" id="{D8B79C4F-A276-6E7C-F0E8-7523787E545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07EF4F3D-02D0-6FC0-6C85-A931D4D2AB4C}"/>
              </a:ext>
            </a:extLst>
          </p:cNvPr>
          <p:cNvSpPr/>
          <p:nvPr/>
        </p:nvSpPr>
        <p:spPr>
          <a:xfrm>
            <a:off x="4791741" y="4135762"/>
            <a:ext cx="4227969" cy="10808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rgbClr val="FFFFFF"/>
                </a:solidFill>
              </a:defRPr>
            </a:lvl1pPr>
            <a:lvl2pPr marL="457200" algn="l" defTabSz="914400" rtl="0" eaLnBrk="1" latinLnBrk="0" hangingPunct="1">
              <a:defRPr sz="1800" kern="1200">
                <a:solidFill>
                  <a:srgbClr val="FFFFFF"/>
                </a:solidFill>
              </a:defRPr>
            </a:lvl2pPr>
            <a:lvl3pPr marL="914400" algn="l" defTabSz="914400" rtl="0" eaLnBrk="1" latinLnBrk="0" hangingPunct="1">
              <a:defRPr sz="1800" kern="1200">
                <a:solidFill>
                  <a:srgbClr val="FFFFFF"/>
                </a:solidFill>
              </a:defRPr>
            </a:lvl3pPr>
            <a:lvl4pPr marL="1371600" algn="l" defTabSz="914400" rtl="0" eaLnBrk="1" latinLnBrk="0" hangingPunct="1">
              <a:defRPr sz="1800" kern="1200">
                <a:solidFill>
                  <a:srgbClr val="FFFFFF"/>
                </a:solidFill>
              </a:defRPr>
            </a:lvl4pPr>
            <a:lvl5pPr marL="1828800" algn="l" defTabSz="914400" rtl="0" eaLnBrk="1" latinLnBrk="0" hangingPunct="1">
              <a:defRPr sz="1800" kern="1200">
                <a:solidFill>
                  <a:srgbClr val="FFFFFF"/>
                </a:solidFill>
              </a:defRPr>
            </a:lvl5pPr>
            <a:lvl6pPr marL="2286000" algn="l" defTabSz="914400" rtl="0" eaLnBrk="1" latinLnBrk="0" hangingPunct="1">
              <a:defRPr sz="1800" kern="1200">
                <a:solidFill>
                  <a:srgbClr val="FFFFFF"/>
                </a:solidFill>
              </a:defRPr>
            </a:lvl6pPr>
            <a:lvl7pPr marL="2743200" algn="l" defTabSz="914400" rtl="0" eaLnBrk="1" latinLnBrk="0" hangingPunct="1">
              <a:defRPr sz="1800" kern="1200">
                <a:solidFill>
                  <a:srgbClr val="FFFFFF"/>
                </a:solidFill>
              </a:defRPr>
            </a:lvl7pPr>
            <a:lvl8pPr marL="3200400" algn="l" defTabSz="914400" rtl="0" eaLnBrk="1" latinLnBrk="0" hangingPunct="1">
              <a:defRPr sz="1800" kern="1200">
                <a:solidFill>
                  <a:srgbClr val="FFFFFF"/>
                </a:solidFill>
              </a:defRPr>
            </a:lvl8pPr>
            <a:lvl9pPr marL="3657600" algn="l" defTabSz="914400" rtl="0" eaLnBrk="1" latinLnBrk="0" hangingPunct="1">
              <a:defRPr sz="1800" kern="1200">
                <a:solidFill>
                  <a:srgbClr val="FFFFFF"/>
                </a:solidFill>
              </a:defRPr>
            </a:lvl9pPr>
          </a:lstStyle>
          <a:p>
            <a:r>
              <a:rPr lang="da-DK" sz="1400" kern="100" dirty="0">
                <a:solidFill>
                  <a:schemeClr val="tx1"/>
                </a:solidFill>
                <a:latin typeface="Verdana" panose="020B0604030504040204" pitchFamily="34" charset="0"/>
                <a:ea typeface="Calibri" panose="020F0502020204030204" pitchFamily="34" charset="0"/>
                <a:cs typeface="Times New Roman" panose="02020603050405020304" pitchFamily="18" charset="0"/>
              </a:rPr>
              <a:t>34 % </a:t>
            </a:r>
            <a:r>
              <a:rPr lang="da-DK" sz="1400" kern="100" dirty="0">
                <a:solidFill>
                  <a:schemeClr val="tx1"/>
                </a:solidFill>
                <a:effectLst/>
                <a:latin typeface="Verdana" panose="020B0604030504040204" pitchFamily="34" charset="0"/>
                <a:ea typeface="Calibri" panose="020F0502020204030204" pitchFamily="34" charset="0"/>
                <a:cs typeface="Times New Roman" panose="02020603050405020304" pitchFamily="18" charset="0"/>
              </a:rPr>
              <a:t>af overskuddet af indtægts-genererende aktiviteter</a:t>
            </a:r>
            <a:br>
              <a:rPr lang="da-DK" sz="1400" kern="100" dirty="0">
                <a:solidFill>
                  <a:schemeClr val="tx1"/>
                </a:solidFill>
                <a:effectLst/>
                <a:latin typeface="Verdana" panose="020B0604030504040204" pitchFamily="34" charset="0"/>
                <a:ea typeface="Calibri" panose="020F0502020204030204" pitchFamily="34" charset="0"/>
                <a:cs typeface="Times New Roman" panose="02020603050405020304" pitchFamily="18" charset="0"/>
              </a:rPr>
            </a:br>
            <a:r>
              <a:rPr lang="da-DK" sz="1200" kern="100" dirty="0">
                <a:solidFill>
                  <a:schemeClr val="tx1"/>
                </a:solidFill>
                <a:effectLst/>
                <a:latin typeface="Verdana" panose="020B0604030504040204" pitchFamily="34" charset="0"/>
                <a:ea typeface="Calibri" panose="020F0502020204030204" pitchFamily="34" charset="0"/>
                <a:cs typeface="Times New Roman" panose="02020603050405020304" pitchFamily="18" charset="0"/>
              </a:rPr>
              <a:t>(medlemskontingent, butik, salg af førstehjælpskurser osv.)</a:t>
            </a:r>
          </a:p>
          <a:p>
            <a:endParaRPr lang="en-US" sz="1400" dirty="0">
              <a:solidFill>
                <a:schemeClr val="tx1"/>
              </a:solidFill>
            </a:endParaRPr>
          </a:p>
        </p:txBody>
      </p:sp>
      <p:sp>
        <p:nvSpPr>
          <p:cNvPr id="12" name="Rectangle 11">
            <a:extLst>
              <a:ext uri="{FF2B5EF4-FFF2-40B4-BE49-F238E27FC236}">
                <a16:creationId xmlns:a16="http://schemas.microsoft.com/office/drawing/2014/main" id="{4470E07B-840B-3D8B-467F-C326068153AF}"/>
              </a:ext>
            </a:extLst>
          </p:cNvPr>
          <p:cNvSpPr/>
          <p:nvPr/>
        </p:nvSpPr>
        <p:spPr>
          <a:xfrm>
            <a:off x="4791741" y="2746838"/>
            <a:ext cx="4580812" cy="10768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rgbClr val="FFFFFF"/>
                </a:solidFill>
              </a:defRPr>
            </a:lvl1pPr>
            <a:lvl2pPr marL="457200" algn="l" defTabSz="914400" rtl="0" eaLnBrk="1" latinLnBrk="0" hangingPunct="1">
              <a:defRPr sz="1800" kern="1200">
                <a:solidFill>
                  <a:srgbClr val="FFFFFF"/>
                </a:solidFill>
              </a:defRPr>
            </a:lvl2pPr>
            <a:lvl3pPr marL="914400" algn="l" defTabSz="914400" rtl="0" eaLnBrk="1" latinLnBrk="0" hangingPunct="1">
              <a:defRPr sz="1800" kern="1200">
                <a:solidFill>
                  <a:srgbClr val="FFFFFF"/>
                </a:solidFill>
              </a:defRPr>
            </a:lvl3pPr>
            <a:lvl4pPr marL="1371600" algn="l" defTabSz="914400" rtl="0" eaLnBrk="1" latinLnBrk="0" hangingPunct="1">
              <a:defRPr sz="1800" kern="1200">
                <a:solidFill>
                  <a:srgbClr val="FFFFFF"/>
                </a:solidFill>
              </a:defRPr>
            </a:lvl4pPr>
            <a:lvl5pPr marL="1828800" algn="l" defTabSz="914400" rtl="0" eaLnBrk="1" latinLnBrk="0" hangingPunct="1">
              <a:defRPr sz="1800" kern="1200">
                <a:solidFill>
                  <a:srgbClr val="FFFFFF"/>
                </a:solidFill>
              </a:defRPr>
            </a:lvl5pPr>
            <a:lvl6pPr marL="2286000" algn="l" defTabSz="914400" rtl="0" eaLnBrk="1" latinLnBrk="0" hangingPunct="1">
              <a:defRPr sz="1800" kern="1200">
                <a:solidFill>
                  <a:srgbClr val="FFFFFF"/>
                </a:solidFill>
              </a:defRPr>
            </a:lvl6pPr>
            <a:lvl7pPr marL="2743200" algn="l" defTabSz="914400" rtl="0" eaLnBrk="1" latinLnBrk="0" hangingPunct="1">
              <a:defRPr sz="1800" kern="1200">
                <a:solidFill>
                  <a:srgbClr val="FFFFFF"/>
                </a:solidFill>
              </a:defRPr>
            </a:lvl7pPr>
            <a:lvl8pPr marL="3200400" algn="l" defTabSz="914400" rtl="0" eaLnBrk="1" latinLnBrk="0" hangingPunct="1">
              <a:defRPr sz="1800" kern="1200">
                <a:solidFill>
                  <a:srgbClr val="FFFFFF"/>
                </a:solidFill>
              </a:defRPr>
            </a:lvl8pPr>
            <a:lvl9pPr marL="3657600" algn="l" defTabSz="914400" rtl="0" eaLnBrk="1" latinLnBrk="0" hangingPunct="1">
              <a:defRPr sz="1800" kern="1200">
                <a:solidFill>
                  <a:srgbClr val="FFFFFF"/>
                </a:solidFill>
              </a:defRPr>
            </a:lvl9pPr>
          </a:lstStyle>
          <a:p>
            <a:r>
              <a:rPr lang="da-DK" sz="1400" kern="100" dirty="0">
                <a:solidFill>
                  <a:schemeClr val="tx1"/>
                </a:solidFill>
                <a:effectLst/>
                <a:latin typeface="Verdana" panose="020B0604030504040204" pitchFamily="34" charset="0"/>
                <a:ea typeface="Calibri" panose="020F0502020204030204" pitchFamily="34" charset="0"/>
                <a:cs typeface="Times New Roman" panose="02020603050405020304" pitchFamily="18" charset="0"/>
              </a:rPr>
              <a:t>Overskydende driftsformue beregnes ud fra afdelingens likvider, tilgodehavender, hensættelser og gæld i forhold til årlige omkostninger med henblik på at sikre, at afdelingen kun har det nødvendige indestående i banken.</a:t>
            </a:r>
          </a:p>
        </p:txBody>
      </p:sp>
      <p:sp>
        <p:nvSpPr>
          <p:cNvPr id="13" name="Rectangle 12">
            <a:extLst>
              <a:ext uri="{FF2B5EF4-FFF2-40B4-BE49-F238E27FC236}">
                <a16:creationId xmlns:a16="http://schemas.microsoft.com/office/drawing/2014/main" id="{4ECEE448-40C7-A3FC-C08C-90933BF7FCDD}"/>
              </a:ext>
            </a:extLst>
          </p:cNvPr>
          <p:cNvSpPr/>
          <p:nvPr/>
        </p:nvSpPr>
        <p:spPr>
          <a:xfrm>
            <a:off x="9461770" y="2746839"/>
            <a:ext cx="2076808" cy="2469818"/>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L="0" algn="l" defTabSz="914400" rtl="0" eaLnBrk="1" latinLnBrk="0" hangingPunct="1">
              <a:defRPr sz="1800" kern="1200">
                <a:solidFill>
                  <a:srgbClr val="FFFFFF"/>
                </a:solidFill>
              </a:defRPr>
            </a:lvl1pPr>
            <a:lvl2pPr marL="457200" algn="l" defTabSz="914400" rtl="0" eaLnBrk="1" latinLnBrk="0" hangingPunct="1">
              <a:defRPr sz="1800" kern="1200">
                <a:solidFill>
                  <a:srgbClr val="FFFFFF"/>
                </a:solidFill>
              </a:defRPr>
            </a:lvl2pPr>
            <a:lvl3pPr marL="914400" algn="l" defTabSz="914400" rtl="0" eaLnBrk="1" latinLnBrk="0" hangingPunct="1">
              <a:defRPr sz="1800" kern="1200">
                <a:solidFill>
                  <a:srgbClr val="FFFFFF"/>
                </a:solidFill>
              </a:defRPr>
            </a:lvl3pPr>
            <a:lvl4pPr marL="1371600" algn="l" defTabSz="914400" rtl="0" eaLnBrk="1" latinLnBrk="0" hangingPunct="1">
              <a:defRPr sz="1800" kern="1200">
                <a:solidFill>
                  <a:srgbClr val="FFFFFF"/>
                </a:solidFill>
              </a:defRPr>
            </a:lvl4pPr>
            <a:lvl5pPr marL="1828800" algn="l" defTabSz="914400" rtl="0" eaLnBrk="1" latinLnBrk="0" hangingPunct="1">
              <a:defRPr sz="1800" kern="1200">
                <a:solidFill>
                  <a:srgbClr val="FFFFFF"/>
                </a:solidFill>
              </a:defRPr>
            </a:lvl5pPr>
            <a:lvl6pPr marL="2286000" algn="l" defTabSz="914400" rtl="0" eaLnBrk="1" latinLnBrk="0" hangingPunct="1">
              <a:defRPr sz="1800" kern="1200">
                <a:solidFill>
                  <a:srgbClr val="FFFFFF"/>
                </a:solidFill>
              </a:defRPr>
            </a:lvl6pPr>
            <a:lvl7pPr marL="2743200" algn="l" defTabSz="914400" rtl="0" eaLnBrk="1" latinLnBrk="0" hangingPunct="1">
              <a:defRPr sz="1800" kern="1200">
                <a:solidFill>
                  <a:srgbClr val="FFFFFF"/>
                </a:solidFill>
              </a:defRPr>
            </a:lvl7pPr>
            <a:lvl8pPr marL="3200400" algn="l" defTabSz="914400" rtl="0" eaLnBrk="1" latinLnBrk="0" hangingPunct="1">
              <a:defRPr sz="1800" kern="1200">
                <a:solidFill>
                  <a:srgbClr val="FFFFFF"/>
                </a:solidFill>
              </a:defRPr>
            </a:lvl8pPr>
            <a:lvl9pPr marL="3657600" algn="l" defTabSz="914400" rtl="0" eaLnBrk="1" latinLnBrk="0" hangingPunct="1">
              <a:defRPr sz="1800" kern="1200">
                <a:solidFill>
                  <a:srgbClr val="FFFFFF"/>
                </a:solidFill>
              </a:defRPr>
            </a:lvl9pPr>
          </a:lstStyle>
          <a:p>
            <a:pPr algn="ctr"/>
            <a:r>
              <a:rPr lang="da-DK" sz="1400" kern="100" dirty="0">
                <a:solidFill>
                  <a:schemeClr val="tx1"/>
                </a:solidFill>
                <a:effectLst/>
                <a:latin typeface="Verdana" panose="020B0604030504040204" pitchFamily="34" charset="0"/>
                <a:ea typeface="Calibri" panose="020F0502020204030204" pitchFamily="34" charset="0"/>
                <a:cs typeface="Times New Roman" panose="02020603050405020304" pitchFamily="18" charset="0"/>
              </a:rPr>
              <a:t>Beregnes hvert år i forbindelse med årsafslutning og bogføres som skyldig omkostning.</a:t>
            </a:r>
          </a:p>
          <a:p>
            <a:pPr algn="ctr"/>
            <a:endParaRPr lang="da-DK" sz="1400" b="1" kern="100" dirty="0">
              <a:solidFill>
                <a:schemeClr val="tx1"/>
              </a:solidFill>
              <a:latin typeface="Verdana" panose="020B0604030504040204" pitchFamily="34" charset="0"/>
              <a:ea typeface="Calibri" panose="020F0502020204030204" pitchFamily="34" charset="0"/>
              <a:cs typeface="Times New Roman" panose="02020603050405020304" pitchFamily="18" charset="0"/>
            </a:endParaRPr>
          </a:p>
          <a:p>
            <a:pPr algn="ctr"/>
            <a:r>
              <a:rPr lang="da-DK" sz="1400" kern="100" dirty="0">
                <a:solidFill>
                  <a:schemeClr val="tx1"/>
                </a:solidFill>
                <a:ea typeface="Calibri" panose="020F0502020204030204" pitchFamily="34" charset="0"/>
                <a:cs typeface="Times New Roman" panose="02020603050405020304" pitchFamily="18" charset="0"/>
              </a:rPr>
              <a:t>Indbetales det følgende år til Landskontoret.</a:t>
            </a:r>
            <a:endParaRPr lang="da-DK" sz="1100" b="1" dirty="0">
              <a:solidFill>
                <a:schemeClr val="tx1"/>
              </a:solidFill>
            </a:endParaRPr>
          </a:p>
          <a:p>
            <a:pPr algn="ctr"/>
            <a:endParaRPr lang="en-US" sz="1400" dirty="0">
              <a:solidFill>
                <a:schemeClr val="tx1"/>
              </a:solidFill>
            </a:endParaRPr>
          </a:p>
        </p:txBody>
      </p:sp>
      <p:grpSp>
        <p:nvGrpSpPr>
          <p:cNvPr id="14" name="Google Shape;1494;p39">
            <a:extLst>
              <a:ext uri="{FF2B5EF4-FFF2-40B4-BE49-F238E27FC236}">
                <a16:creationId xmlns:a16="http://schemas.microsoft.com/office/drawing/2014/main" id="{0FCE9BD7-5BF2-923B-279D-14114851E3F5}"/>
              </a:ext>
            </a:extLst>
          </p:cNvPr>
          <p:cNvGrpSpPr/>
          <p:nvPr/>
        </p:nvGrpSpPr>
        <p:grpSpPr>
          <a:xfrm>
            <a:off x="892797" y="4384637"/>
            <a:ext cx="3823686" cy="1932662"/>
            <a:chOff x="1902431" y="3383400"/>
            <a:chExt cx="3139334" cy="1586759"/>
          </a:xfrm>
        </p:grpSpPr>
        <p:sp>
          <p:nvSpPr>
            <p:cNvPr id="29" name="Google Shape;1495;p39">
              <a:extLst>
                <a:ext uri="{FF2B5EF4-FFF2-40B4-BE49-F238E27FC236}">
                  <a16:creationId xmlns:a16="http://schemas.microsoft.com/office/drawing/2014/main" id="{84047A91-722C-4069-F9A7-A5EA9E014E7D}"/>
                </a:ext>
              </a:extLst>
            </p:cNvPr>
            <p:cNvSpPr/>
            <p:nvPr/>
          </p:nvSpPr>
          <p:spPr>
            <a:xfrm>
              <a:off x="2064678" y="3481715"/>
              <a:ext cx="2977087" cy="1488444"/>
            </a:xfrm>
            <a:custGeom>
              <a:avLst/>
              <a:gdLst/>
              <a:ahLst/>
              <a:cxnLst/>
              <a:rect l="l" t="t" r="r" b="b"/>
              <a:pathLst>
                <a:path w="149022" h="74506" extrusionOk="0">
                  <a:moveTo>
                    <a:pt x="133780" y="1"/>
                  </a:moveTo>
                  <a:cubicBezTo>
                    <a:pt x="131677" y="1"/>
                    <a:pt x="129609" y="570"/>
                    <a:pt x="127840" y="1864"/>
                  </a:cubicBezTo>
                  <a:cubicBezTo>
                    <a:pt x="117459" y="9482"/>
                    <a:pt x="107747" y="17938"/>
                    <a:pt x="97785" y="26143"/>
                  </a:cubicBezTo>
                  <a:cubicBezTo>
                    <a:pt x="82186" y="38930"/>
                    <a:pt x="69127" y="46710"/>
                    <a:pt x="53854" y="46710"/>
                  </a:cubicBezTo>
                  <a:cubicBezTo>
                    <a:pt x="45929" y="46710"/>
                    <a:pt x="37409" y="44616"/>
                    <a:pt x="27628" y="40040"/>
                  </a:cubicBezTo>
                  <a:cubicBezTo>
                    <a:pt x="25367" y="39035"/>
                    <a:pt x="23191" y="37780"/>
                    <a:pt x="21098" y="36440"/>
                  </a:cubicBezTo>
                  <a:cubicBezTo>
                    <a:pt x="19211" y="35227"/>
                    <a:pt x="17081" y="34674"/>
                    <a:pt x="14946" y="34674"/>
                  </a:cubicBezTo>
                  <a:cubicBezTo>
                    <a:pt x="10449" y="34674"/>
                    <a:pt x="5928" y="37128"/>
                    <a:pt x="3600" y="41045"/>
                  </a:cubicBezTo>
                  <a:cubicBezTo>
                    <a:pt x="0" y="47240"/>
                    <a:pt x="2345" y="54691"/>
                    <a:pt x="8205" y="58458"/>
                  </a:cubicBezTo>
                  <a:cubicBezTo>
                    <a:pt x="17833" y="64654"/>
                    <a:pt x="29386" y="68337"/>
                    <a:pt x="40353" y="71184"/>
                  </a:cubicBezTo>
                  <a:cubicBezTo>
                    <a:pt x="45962" y="72607"/>
                    <a:pt x="51572" y="73528"/>
                    <a:pt x="57348" y="74281"/>
                  </a:cubicBezTo>
                  <a:cubicBezTo>
                    <a:pt x="58563" y="74433"/>
                    <a:pt x="59767" y="74505"/>
                    <a:pt x="60959" y="74505"/>
                  </a:cubicBezTo>
                  <a:cubicBezTo>
                    <a:pt x="66998" y="74505"/>
                    <a:pt x="72755" y="72654"/>
                    <a:pt x="78278" y="69928"/>
                  </a:cubicBezTo>
                  <a:cubicBezTo>
                    <a:pt x="83385" y="67500"/>
                    <a:pt x="88073" y="63984"/>
                    <a:pt x="92845" y="60970"/>
                  </a:cubicBezTo>
                  <a:cubicBezTo>
                    <a:pt x="99292" y="57035"/>
                    <a:pt x="105320" y="52514"/>
                    <a:pt x="111264" y="47826"/>
                  </a:cubicBezTo>
                  <a:cubicBezTo>
                    <a:pt x="121226" y="40040"/>
                    <a:pt x="131105" y="30915"/>
                    <a:pt x="140649" y="23882"/>
                  </a:cubicBezTo>
                  <a:cubicBezTo>
                    <a:pt x="146258" y="19780"/>
                    <a:pt x="149021" y="12915"/>
                    <a:pt x="145254" y="6468"/>
                  </a:cubicBezTo>
                  <a:cubicBezTo>
                    <a:pt x="143076" y="2685"/>
                    <a:pt x="138346" y="1"/>
                    <a:pt x="133780" y="1"/>
                  </a:cubicBezTo>
                  <a:close/>
                </a:path>
              </a:pathLst>
            </a:custGeom>
            <a:solidFill>
              <a:schemeClr val="bg1">
                <a:lumMod val="9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lvl="0" indent="0" algn="l" rtl="0">
                <a:spcBef>
                  <a:spcPct val="0"/>
                </a:spcBef>
                <a:spcAft>
                  <a:spcPct val="0"/>
                </a:spcAft>
                <a:buNone/>
              </a:pPr>
              <a:endParaRPr/>
            </a:p>
          </p:txBody>
        </p:sp>
        <p:sp>
          <p:nvSpPr>
            <p:cNvPr id="30" name="Google Shape;1497;p39">
              <a:extLst>
                <a:ext uri="{FF2B5EF4-FFF2-40B4-BE49-F238E27FC236}">
                  <a16:creationId xmlns:a16="http://schemas.microsoft.com/office/drawing/2014/main" id="{213A7E7C-A53A-FBB7-1F08-9EF63E54C744}"/>
                </a:ext>
              </a:extLst>
            </p:cNvPr>
            <p:cNvSpPr/>
            <p:nvPr/>
          </p:nvSpPr>
          <p:spPr>
            <a:xfrm>
              <a:off x="1902431" y="3383400"/>
              <a:ext cx="2776393" cy="1168784"/>
            </a:xfrm>
            <a:custGeom>
              <a:avLst/>
              <a:gdLst/>
              <a:ahLst/>
              <a:cxnLst/>
              <a:rect l="l" t="t" r="r" b="b"/>
              <a:pathLst>
                <a:path w="138976" h="58505" extrusionOk="0">
                  <a:moveTo>
                    <a:pt x="129960" y="1"/>
                  </a:moveTo>
                  <a:cubicBezTo>
                    <a:pt x="129868" y="1"/>
                    <a:pt x="129776" y="2"/>
                    <a:pt x="129682" y="4"/>
                  </a:cubicBezTo>
                  <a:cubicBezTo>
                    <a:pt x="121478" y="255"/>
                    <a:pt x="120473" y="5278"/>
                    <a:pt x="115534" y="9045"/>
                  </a:cubicBezTo>
                  <a:cubicBezTo>
                    <a:pt x="96526" y="23667"/>
                    <a:pt x="80623" y="32405"/>
                    <a:pt x="60861" y="32405"/>
                  </a:cubicBezTo>
                  <a:cubicBezTo>
                    <a:pt x="52334" y="32405"/>
                    <a:pt x="43090" y="30778"/>
                    <a:pt x="32568" y="27296"/>
                  </a:cubicBezTo>
                  <a:cubicBezTo>
                    <a:pt x="29805" y="26459"/>
                    <a:pt x="27126" y="25371"/>
                    <a:pt x="24614" y="24115"/>
                  </a:cubicBezTo>
                  <a:cubicBezTo>
                    <a:pt x="22560" y="23136"/>
                    <a:pt x="20309" y="22688"/>
                    <a:pt x="18053" y="22688"/>
                  </a:cubicBezTo>
                  <a:cubicBezTo>
                    <a:pt x="12399" y="22688"/>
                    <a:pt x="6712" y="25499"/>
                    <a:pt x="4019" y="29808"/>
                  </a:cubicBezTo>
                  <a:cubicBezTo>
                    <a:pt x="1" y="36170"/>
                    <a:pt x="3266" y="43538"/>
                    <a:pt x="10382" y="46887"/>
                  </a:cubicBezTo>
                  <a:cubicBezTo>
                    <a:pt x="22186" y="52579"/>
                    <a:pt x="36168" y="55510"/>
                    <a:pt x="49395" y="57603"/>
                  </a:cubicBezTo>
                  <a:cubicBezTo>
                    <a:pt x="53274" y="58208"/>
                    <a:pt x="57285" y="58504"/>
                    <a:pt x="61361" y="58504"/>
                  </a:cubicBezTo>
                  <a:cubicBezTo>
                    <a:pt x="83769" y="58504"/>
                    <a:pt x="108135" y="49552"/>
                    <a:pt x="123152" y="33826"/>
                  </a:cubicBezTo>
                  <a:cubicBezTo>
                    <a:pt x="128259" y="28468"/>
                    <a:pt x="133282" y="21854"/>
                    <a:pt x="136715" y="15241"/>
                  </a:cubicBezTo>
                  <a:cubicBezTo>
                    <a:pt x="138389" y="11892"/>
                    <a:pt x="138975" y="7622"/>
                    <a:pt x="137552" y="4357"/>
                  </a:cubicBezTo>
                  <a:cubicBezTo>
                    <a:pt x="136405" y="1818"/>
                    <a:pt x="134058" y="1"/>
                    <a:pt x="129960" y="1"/>
                  </a:cubicBezTo>
                  <a:close/>
                </a:path>
              </a:pathLst>
            </a:custGeom>
            <a:solidFill>
              <a:schemeClr val="bg1">
                <a:lumMod val="8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lvl="0" indent="0" algn="l" rtl="0">
                <a:spcBef>
                  <a:spcPct val="0"/>
                </a:spcBef>
                <a:spcAft>
                  <a:spcPct val="0"/>
                </a:spcAft>
                <a:buNone/>
              </a:pPr>
              <a:endParaRPr/>
            </a:p>
          </p:txBody>
        </p:sp>
      </p:grpSp>
      <p:sp>
        <p:nvSpPr>
          <p:cNvPr id="15" name="Google Shape;1499;p39">
            <a:extLst>
              <a:ext uri="{FF2B5EF4-FFF2-40B4-BE49-F238E27FC236}">
                <a16:creationId xmlns:a16="http://schemas.microsoft.com/office/drawing/2014/main" id="{48A8FE7B-ED78-A2E5-3EF3-D9CAD9049918}"/>
              </a:ext>
            </a:extLst>
          </p:cNvPr>
          <p:cNvSpPr/>
          <p:nvPr/>
        </p:nvSpPr>
        <p:spPr>
          <a:xfrm>
            <a:off x="1600195" y="1418275"/>
            <a:ext cx="1968032" cy="599618"/>
          </a:xfrm>
          <a:custGeom>
            <a:avLst/>
            <a:gdLst/>
            <a:ahLst/>
            <a:cxnLst/>
            <a:rect l="l" t="t" r="r" b="b"/>
            <a:pathLst>
              <a:path w="80790" h="24615" extrusionOk="0">
                <a:moveTo>
                  <a:pt x="2679" y="1"/>
                </a:moveTo>
                <a:cubicBezTo>
                  <a:pt x="1842" y="1"/>
                  <a:pt x="1005" y="252"/>
                  <a:pt x="586" y="587"/>
                </a:cubicBezTo>
                <a:cubicBezTo>
                  <a:pt x="84" y="1006"/>
                  <a:pt x="0" y="1508"/>
                  <a:pt x="419" y="1927"/>
                </a:cubicBezTo>
                <a:lnTo>
                  <a:pt x="19172" y="23861"/>
                </a:lnTo>
                <a:cubicBezTo>
                  <a:pt x="19591" y="24363"/>
                  <a:pt x="20512" y="24615"/>
                  <a:pt x="21432" y="24615"/>
                </a:cubicBezTo>
                <a:lnTo>
                  <a:pt x="59022" y="24615"/>
                </a:lnTo>
                <a:cubicBezTo>
                  <a:pt x="59943" y="24615"/>
                  <a:pt x="60864" y="24363"/>
                  <a:pt x="61283" y="23861"/>
                </a:cubicBezTo>
                <a:lnTo>
                  <a:pt x="80371" y="1927"/>
                </a:lnTo>
                <a:cubicBezTo>
                  <a:pt x="80790" y="1508"/>
                  <a:pt x="80706" y="1006"/>
                  <a:pt x="80204" y="587"/>
                </a:cubicBezTo>
                <a:cubicBezTo>
                  <a:pt x="79785" y="252"/>
                  <a:pt x="78948" y="1"/>
                  <a:pt x="78111" y="1"/>
                </a:cubicBezTo>
                <a:cubicBezTo>
                  <a:pt x="72501" y="1"/>
                  <a:pt x="69487" y="1341"/>
                  <a:pt x="67060" y="2513"/>
                </a:cubicBezTo>
                <a:cubicBezTo>
                  <a:pt x="64799" y="3517"/>
                  <a:pt x="63041" y="4354"/>
                  <a:pt x="59274" y="4354"/>
                </a:cubicBezTo>
                <a:cubicBezTo>
                  <a:pt x="55423" y="4354"/>
                  <a:pt x="53664" y="3517"/>
                  <a:pt x="51488" y="2513"/>
                </a:cubicBezTo>
                <a:cubicBezTo>
                  <a:pt x="49060" y="1341"/>
                  <a:pt x="46046" y="1"/>
                  <a:pt x="40353" y="1"/>
                </a:cubicBezTo>
                <a:cubicBezTo>
                  <a:pt x="34744" y="1"/>
                  <a:pt x="31730" y="1341"/>
                  <a:pt x="29302" y="2513"/>
                </a:cubicBezTo>
                <a:cubicBezTo>
                  <a:pt x="27125" y="3517"/>
                  <a:pt x="25284" y="4354"/>
                  <a:pt x="21516" y="4354"/>
                </a:cubicBezTo>
                <a:cubicBezTo>
                  <a:pt x="17749" y="4354"/>
                  <a:pt x="15991" y="3517"/>
                  <a:pt x="13730" y="2513"/>
                </a:cubicBezTo>
                <a:cubicBezTo>
                  <a:pt x="11302" y="1341"/>
                  <a:pt x="8288" y="1"/>
                  <a:pt x="2679" y="1"/>
                </a:cubicBezTo>
                <a:close/>
              </a:path>
            </a:pathLst>
          </a:custGeom>
          <a:solidFill>
            <a:schemeClr val="accent1">
              <a:lumMod val="40000"/>
              <a:lumOff val="6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lvl="0" indent="0" algn="l" rtl="0">
              <a:spcBef>
                <a:spcPct val="0"/>
              </a:spcBef>
              <a:spcAft>
                <a:spcPct val="0"/>
              </a:spcAft>
              <a:buNone/>
            </a:pPr>
            <a:endParaRPr/>
          </a:p>
        </p:txBody>
      </p:sp>
      <p:sp>
        <p:nvSpPr>
          <p:cNvPr id="16" name="Google Shape;1502;p39">
            <a:extLst>
              <a:ext uri="{FF2B5EF4-FFF2-40B4-BE49-F238E27FC236}">
                <a16:creationId xmlns:a16="http://schemas.microsoft.com/office/drawing/2014/main" id="{94F370B2-FC5F-F8C1-D860-75F452B8FB0C}"/>
              </a:ext>
            </a:extLst>
          </p:cNvPr>
          <p:cNvSpPr/>
          <p:nvPr/>
        </p:nvSpPr>
        <p:spPr>
          <a:xfrm>
            <a:off x="1971379" y="2087222"/>
            <a:ext cx="1225690" cy="244768"/>
          </a:xfrm>
          <a:custGeom>
            <a:avLst/>
            <a:gdLst/>
            <a:ahLst/>
            <a:cxnLst/>
            <a:rect l="l" t="t" r="r" b="b"/>
            <a:pathLst>
              <a:path w="50316" h="10048" extrusionOk="0">
                <a:moveTo>
                  <a:pt x="5023" y="1"/>
                </a:moveTo>
                <a:cubicBezTo>
                  <a:pt x="2261" y="1"/>
                  <a:pt x="0" y="2261"/>
                  <a:pt x="0" y="5024"/>
                </a:cubicBezTo>
                <a:cubicBezTo>
                  <a:pt x="0" y="7871"/>
                  <a:pt x="2261" y="10047"/>
                  <a:pt x="5023" y="10047"/>
                </a:cubicBezTo>
                <a:lnTo>
                  <a:pt x="45292" y="10047"/>
                </a:lnTo>
                <a:cubicBezTo>
                  <a:pt x="48055" y="10047"/>
                  <a:pt x="50316" y="7871"/>
                  <a:pt x="50316" y="5024"/>
                </a:cubicBezTo>
                <a:cubicBezTo>
                  <a:pt x="50316" y="2261"/>
                  <a:pt x="48055" y="1"/>
                  <a:pt x="45292" y="1"/>
                </a:cubicBezTo>
                <a:close/>
              </a:path>
            </a:pathLst>
          </a:custGeom>
          <a:solidFill>
            <a:schemeClr val="accent1">
              <a:lumMod val="40000"/>
              <a:lumOff val="6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lvl="0" indent="0" algn="l" rtl="0">
              <a:spcBef>
                <a:spcPct val="0"/>
              </a:spcBef>
              <a:spcAft>
                <a:spcPct val="0"/>
              </a:spcAft>
              <a:buNone/>
            </a:pPr>
            <a:endParaRPr/>
          </a:p>
        </p:txBody>
      </p:sp>
      <p:sp>
        <p:nvSpPr>
          <p:cNvPr id="18" name="Google Shape;1522;p39">
            <a:extLst>
              <a:ext uri="{FF2B5EF4-FFF2-40B4-BE49-F238E27FC236}">
                <a16:creationId xmlns:a16="http://schemas.microsoft.com/office/drawing/2014/main" id="{D7CE2CAD-43AD-AEEA-E22A-72A4F25184C8}"/>
              </a:ext>
            </a:extLst>
          </p:cNvPr>
          <p:cNvSpPr txBox="1"/>
          <p:nvPr/>
        </p:nvSpPr>
        <p:spPr>
          <a:xfrm>
            <a:off x="2030248" y="3548922"/>
            <a:ext cx="1107886" cy="529096"/>
          </a:xfrm>
          <a:prstGeom prst="rect">
            <a:avLst/>
          </a:prstGeom>
          <a:no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lvl="0" indent="0" algn="ctr" rtl="0">
              <a:spcBef>
                <a:spcPct val="0"/>
              </a:spcBef>
              <a:spcAft>
                <a:spcPct val="0"/>
              </a:spcAft>
              <a:buNone/>
            </a:pPr>
            <a:r>
              <a:rPr lang="en" sz="2800" b="1">
                <a:solidFill>
                  <a:schemeClr val="lt1"/>
                </a:solidFill>
              </a:rPr>
              <a:t>XX%</a:t>
            </a:r>
            <a:endParaRPr sz="2800" b="1">
              <a:solidFill>
                <a:schemeClr val="lt1"/>
              </a:solidFill>
            </a:endParaRPr>
          </a:p>
        </p:txBody>
      </p:sp>
      <p:sp>
        <p:nvSpPr>
          <p:cNvPr id="19" name="Google Shape;1524;p39">
            <a:extLst>
              <a:ext uri="{FF2B5EF4-FFF2-40B4-BE49-F238E27FC236}">
                <a16:creationId xmlns:a16="http://schemas.microsoft.com/office/drawing/2014/main" id="{C3EEE34D-192E-E343-3ECC-51A8714EEB67}"/>
              </a:ext>
            </a:extLst>
          </p:cNvPr>
          <p:cNvSpPr/>
          <p:nvPr/>
        </p:nvSpPr>
        <p:spPr>
          <a:xfrm>
            <a:off x="1065844" y="2401304"/>
            <a:ext cx="3036700" cy="1533663"/>
          </a:xfrm>
          <a:custGeom>
            <a:avLst/>
            <a:gdLst/>
            <a:ahLst/>
            <a:cxnLst/>
            <a:rect l="l" t="t" r="r" b="b"/>
            <a:pathLst>
              <a:path w="102892" h="30140" extrusionOk="0">
                <a:moveTo>
                  <a:pt x="23944" y="1"/>
                </a:moveTo>
                <a:cubicBezTo>
                  <a:pt x="22939" y="1"/>
                  <a:pt x="21851" y="419"/>
                  <a:pt x="21098" y="1173"/>
                </a:cubicBezTo>
                <a:cubicBezTo>
                  <a:pt x="12642" y="9043"/>
                  <a:pt x="5442" y="19340"/>
                  <a:pt x="0" y="30140"/>
                </a:cubicBezTo>
                <a:lnTo>
                  <a:pt x="102892" y="30140"/>
                </a:lnTo>
                <a:cubicBezTo>
                  <a:pt x="97450" y="19340"/>
                  <a:pt x="90250" y="9043"/>
                  <a:pt x="81794" y="1173"/>
                </a:cubicBezTo>
                <a:cubicBezTo>
                  <a:pt x="81041" y="419"/>
                  <a:pt x="79952" y="1"/>
                  <a:pt x="78948" y="1"/>
                </a:cubicBezTo>
                <a:close/>
              </a:path>
            </a:pathLst>
          </a:custGeom>
          <a:solidFill>
            <a:schemeClr val="accent1">
              <a:lumMod val="60000"/>
              <a:lumOff val="40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lvl="0" indent="0" algn="l" rtl="0">
              <a:spcBef>
                <a:spcPct val="0"/>
              </a:spcBef>
              <a:spcAft>
                <a:spcPct val="0"/>
              </a:spcAft>
              <a:buNone/>
            </a:pPr>
            <a:endParaRPr/>
          </a:p>
        </p:txBody>
      </p:sp>
      <p:sp>
        <p:nvSpPr>
          <p:cNvPr id="21" name="Google Shape;1536;p39">
            <a:extLst>
              <a:ext uri="{FF2B5EF4-FFF2-40B4-BE49-F238E27FC236}">
                <a16:creationId xmlns:a16="http://schemas.microsoft.com/office/drawing/2014/main" id="{1BAD78ED-8ACF-ABA5-EFF9-C5CD66A88514}"/>
              </a:ext>
            </a:extLst>
          </p:cNvPr>
          <p:cNvSpPr/>
          <p:nvPr/>
        </p:nvSpPr>
        <p:spPr>
          <a:xfrm>
            <a:off x="1065844" y="3979860"/>
            <a:ext cx="3036700" cy="1533665"/>
          </a:xfrm>
          <a:custGeom>
            <a:avLst/>
            <a:gdLst/>
            <a:ahLst/>
            <a:cxnLst/>
            <a:rect l="l" t="t" r="r" b="b"/>
            <a:pathLst>
              <a:path w="124660" h="44372" extrusionOk="0">
                <a:moveTo>
                  <a:pt x="1" y="0"/>
                </a:moveTo>
                <a:cubicBezTo>
                  <a:pt x="5610" y="25284"/>
                  <a:pt x="31396" y="44372"/>
                  <a:pt x="62372" y="44372"/>
                </a:cubicBezTo>
                <a:cubicBezTo>
                  <a:pt x="93264" y="44372"/>
                  <a:pt x="119050" y="25284"/>
                  <a:pt x="124659" y="0"/>
                </a:cubicBezTo>
                <a:close/>
              </a:path>
            </a:pathLst>
          </a:custGeom>
          <a:solidFill>
            <a:schemeClr val="accent1">
              <a:lumMod val="7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lvl="0" indent="0" algn="l" rtl="0">
              <a:spcBef>
                <a:spcPct val="0"/>
              </a:spcBef>
              <a:spcAft>
                <a:spcPct val="0"/>
              </a:spcAft>
              <a:buNone/>
            </a:pPr>
            <a:endParaRPr/>
          </a:p>
        </p:txBody>
      </p:sp>
      <p:sp>
        <p:nvSpPr>
          <p:cNvPr id="22" name="Google Shape;1545;p39">
            <a:extLst>
              <a:ext uri="{FF2B5EF4-FFF2-40B4-BE49-F238E27FC236}">
                <a16:creationId xmlns:a16="http://schemas.microsoft.com/office/drawing/2014/main" id="{4BC3539C-09C5-FF70-1289-9474FC776088}"/>
              </a:ext>
            </a:extLst>
          </p:cNvPr>
          <p:cNvSpPr txBox="1"/>
          <p:nvPr/>
        </p:nvSpPr>
        <p:spPr>
          <a:xfrm>
            <a:off x="1099751" y="4246001"/>
            <a:ext cx="2976853" cy="529096"/>
          </a:xfrm>
          <a:prstGeom prst="rect">
            <a:avLst/>
          </a:prstGeom>
          <a:no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lvl="0" indent="0" algn="ctr" rtl="0">
              <a:spcBef>
                <a:spcPct val="0"/>
              </a:spcBef>
              <a:spcAft>
                <a:spcPct val="0"/>
              </a:spcAft>
              <a:buNone/>
            </a:pPr>
            <a:r>
              <a:rPr lang="en" sz="2400" b="1" dirty="0">
                <a:solidFill>
                  <a:schemeClr val="lt1"/>
                </a:solidFill>
              </a:rPr>
              <a:t>34 %</a:t>
            </a:r>
            <a:endParaRPr sz="2400" b="1" dirty="0">
              <a:solidFill>
                <a:schemeClr val="lt1"/>
              </a:solidFill>
            </a:endParaRPr>
          </a:p>
        </p:txBody>
      </p:sp>
      <p:grpSp>
        <p:nvGrpSpPr>
          <p:cNvPr id="23" name="Google Shape;1546;p39">
            <a:extLst>
              <a:ext uri="{FF2B5EF4-FFF2-40B4-BE49-F238E27FC236}">
                <a16:creationId xmlns:a16="http://schemas.microsoft.com/office/drawing/2014/main" id="{9D1EA1E5-566A-53DE-B832-2D53D1C9BB63}"/>
              </a:ext>
            </a:extLst>
          </p:cNvPr>
          <p:cNvGrpSpPr/>
          <p:nvPr/>
        </p:nvGrpSpPr>
        <p:grpSpPr>
          <a:xfrm>
            <a:off x="334963" y="4928652"/>
            <a:ext cx="2853425" cy="1303758"/>
            <a:chOff x="1444436" y="3830047"/>
            <a:chExt cx="2342727" cy="1070414"/>
          </a:xfrm>
        </p:grpSpPr>
        <p:sp>
          <p:nvSpPr>
            <p:cNvPr id="26" name="Google Shape;1547;p39">
              <a:extLst>
                <a:ext uri="{FF2B5EF4-FFF2-40B4-BE49-F238E27FC236}">
                  <a16:creationId xmlns:a16="http://schemas.microsoft.com/office/drawing/2014/main" id="{EF853A4C-A8E6-CD26-DB2C-5CC737A18C0B}"/>
                </a:ext>
              </a:extLst>
            </p:cNvPr>
            <p:cNvSpPr/>
            <p:nvPr/>
          </p:nvSpPr>
          <p:spPr>
            <a:xfrm>
              <a:off x="1494325" y="3893239"/>
              <a:ext cx="2292838" cy="855037"/>
            </a:xfrm>
            <a:custGeom>
              <a:avLst/>
              <a:gdLst/>
              <a:ahLst/>
              <a:cxnLst/>
              <a:rect l="l" t="t" r="r" b="b"/>
              <a:pathLst>
                <a:path w="114771" h="42800" extrusionOk="0">
                  <a:moveTo>
                    <a:pt x="53683" y="0"/>
                  </a:moveTo>
                  <a:cubicBezTo>
                    <a:pt x="51346" y="0"/>
                    <a:pt x="49138" y="546"/>
                    <a:pt x="47134" y="1944"/>
                  </a:cubicBezTo>
                  <a:lnTo>
                    <a:pt x="0" y="1944"/>
                  </a:lnTo>
                  <a:lnTo>
                    <a:pt x="0" y="33004"/>
                  </a:lnTo>
                  <a:lnTo>
                    <a:pt x="12726" y="42799"/>
                  </a:lnTo>
                  <a:cubicBezTo>
                    <a:pt x="12726" y="42799"/>
                    <a:pt x="54334" y="28818"/>
                    <a:pt x="54418" y="28818"/>
                  </a:cubicBezTo>
                  <a:cubicBezTo>
                    <a:pt x="55924" y="28299"/>
                    <a:pt x="57395" y="28091"/>
                    <a:pt x="58843" y="28091"/>
                  </a:cubicBezTo>
                  <a:cubicBezTo>
                    <a:pt x="64397" y="28091"/>
                    <a:pt x="69620" y="31148"/>
                    <a:pt x="75264" y="31414"/>
                  </a:cubicBezTo>
                  <a:cubicBezTo>
                    <a:pt x="75868" y="31439"/>
                    <a:pt x="76479" y="31452"/>
                    <a:pt x="77098" y="31452"/>
                  </a:cubicBezTo>
                  <a:cubicBezTo>
                    <a:pt x="88655" y="31452"/>
                    <a:pt x="102525" y="26990"/>
                    <a:pt x="109756" y="17851"/>
                  </a:cubicBezTo>
                  <a:cubicBezTo>
                    <a:pt x="114771" y="11484"/>
                    <a:pt x="109495" y="5495"/>
                    <a:pt x="102200" y="5495"/>
                  </a:cubicBezTo>
                  <a:cubicBezTo>
                    <a:pt x="101822" y="5495"/>
                    <a:pt x="101438" y="5511"/>
                    <a:pt x="101050" y="5544"/>
                  </a:cubicBezTo>
                  <a:cubicBezTo>
                    <a:pt x="96758" y="5862"/>
                    <a:pt x="92634" y="6079"/>
                    <a:pt x="88590" y="6079"/>
                  </a:cubicBezTo>
                  <a:cubicBezTo>
                    <a:pt x="79854" y="6079"/>
                    <a:pt x="71493" y="5065"/>
                    <a:pt x="62622" y="1861"/>
                  </a:cubicBezTo>
                  <a:cubicBezTo>
                    <a:pt x="59546" y="805"/>
                    <a:pt x="56520" y="0"/>
                    <a:pt x="53683" y="0"/>
                  </a:cubicBezTo>
                  <a:close/>
                </a:path>
              </a:pathLst>
            </a:custGeom>
            <a:solidFill>
              <a:schemeClr val="bg1">
                <a:lumMod val="9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lvl="0" indent="0" algn="l" rtl="0">
                <a:spcBef>
                  <a:spcPct val="0"/>
                </a:spcBef>
                <a:spcAft>
                  <a:spcPct val="0"/>
                </a:spcAft>
                <a:buNone/>
              </a:pPr>
              <a:endParaRPr/>
            </a:p>
          </p:txBody>
        </p:sp>
        <p:sp>
          <p:nvSpPr>
            <p:cNvPr id="27" name="Google Shape;1548;p39">
              <a:extLst>
                <a:ext uri="{FF2B5EF4-FFF2-40B4-BE49-F238E27FC236}">
                  <a16:creationId xmlns:a16="http://schemas.microsoft.com/office/drawing/2014/main" id="{8C78C67A-AE6C-B653-6F4E-252E89746B44}"/>
                </a:ext>
              </a:extLst>
            </p:cNvPr>
            <p:cNvSpPr/>
            <p:nvPr/>
          </p:nvSpPr>
          <p:spPr>
            <a:xfrm>
              <a:off x="2036248" y="3866844"/>
              <a:ext cx="227484" cy="1001852"/>
            </a:xfrm>
            <a:custGeom>
              <a:avLst/>
              <a:gdLst/>
              <a:ahLst/>
              <a:cxnLst/>
              <a:rect l="l" t="t" r="r" b="b"/>
              <a:pathLst>
                <a:path w="11387" h="50149" extrusionOk="0">
                  <a:moveTo>
                    <a:pt x="11386" y="1"/>
                  </a:moveTo>
                  <a:lnTo>
                    <a:pt x="0" y="1"/>
                  </a:lnTo>
                  <a:lnTo>
                    <a:pt x="0" y="50149"/>
                  </a:lnTo>
                  <a:lnTo>
                    <a:pt x="11386" y="50149"/>
                  </a:lnTo>
                  <a:close/>
                </a:path>
              </a:pathLst>
            </a:custGeom>
            <a:solidFill>
              <a:schemeClr val="accent1">
                <a:lumMod val="75000"/>
              </a:schemeClr>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lvl="0" indent="0" algn="l" rtl="0">
                <a:spcBef>
                  <a:spcPct val="0"/>
                </a:spcBef>
                <a:spcAft>
                  <a:spcPct val="0"/>
                </a:spcAft>
                <a:buNone/>
              </a:pPr>
              <a:endParaRPr/>
            </a:p>
          </p:txBody>
        </p:sp>
        <p:sp>
          <p:nvSpPr>
            <p:cNvPr id="28" name="Google Shape;1550;p39">
              <a:extLst>
                <a:ext uri="{FF2B5EF4-FFF2-40B4-BE49-F238E27FC236}">
                  <a16:creationId xmlns:a16="http://schemas.microsoft.com/office/drawing/2014/main" id="{D780A607-08E3-A922-D645-8CB2C9ED2742}"/>
                </a:ext>
              </a:extLst>
            </p:cNvPr>
            <p:cNvSpPr/>
            <p:nvPr/>
          </p:nvSpPr>
          <p:spPr>
            <a:xfrm>
              <a:off x="1444436" y="3830047"/>
              <a:ext cx="629034" cy="1070414"/>
            </a:xfrm>
            <a:custGeom>
              <a:avLst/>
              <a:gdLst/>
              <a:ahLst/>
              <a:cxnLst/>
              <a:rect l="l" t="t" r="r" b="b"/>
              <a:pathLst>
                <a:path w="116790" h="53581" extrusionOk="0">
                  <a:moveTo>
                    <a:pt x="116789" y="0"/>
                  </a:moveTo>
                  <a:lnTo>
                    <a:pt x="1" y="0"/>
                  </a:lnTo>
                  <a:lnTo>
                    <a:pt x="1" y="53581"/>
                  </a:lnTo>
                  <a:lnTo>
                    <a:pt x="116789" y="53581"/>
                  </a:lnTo>
                  <a:close/>
                </a:path>
              </a:pathLst>
            </a:custGeom>
            <a:solidFill>
              <a:schemeClr val="accent1"/>
            </a:solid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lvl="0" indent="0" algn="l" rtl="0">
                <a:spcBef>
                  <a:spcPct val="0"/>
                </a:spcBef>
                <a:spcAft>
                  <a:spcPct val="0"/>
                </a:spcAft>
                <a:buNone/>
              </a:pPr>
              <a:endParaRPr/>
            </a:p>
          </p:txBody>
        </p:sp>
      </p:grpSp>
      <p:cxnSp>
        <p:nvCxnSpPr>
          <p:cNvPr id="25" name="Straight Connector 24">
            <a:extLst>
              <a:ext uri="{FF2B5EF4-FFF2-40B4-BE49-F238E27FC236}">
                <a16:creationId xmlns:a16="http://schemas.microsoft.com/office/drawing/2014/main" id="{D89C43B2-8640-64FC-74EE-5BD1B1F874E9}"/>
              </a:ext>
            </a:extLst>
          </p:cNvPr>
          <p:cNvCxnSpPr/>
          <p:nvPr/>
        </p:nvCxnSpPr>
        <p:spPr>
          <a:xfrm>
            <a:off x="1051282" y="3949536"/>
            <a:ext cx="10805756" cy="0"/>
          </a:xfrm>
          <a:prstGeom prst="line">
            <a:avLst/>
          </a:prstGeom>
          <a:ln w="6350">
            <a:solidFill>
              <a:schemeClr val="accent1"/>
            </a:solidFill>
            <a:prstDash val="lgDash"/>
            <a:tailEnd type="none"/>
          </a:ln>
        </p:spPr>
        <p:style>
          <a:lnRef idx="1">
            <a:schemeClr val="accent1"/>
          </a:lnRef>
          <a:fillRef idx="0">
            <a:schemeClr val="accent1"/>
          </a:fillRef>
          <a:effectRef idx="0">
            <a:schemeClr val="accent1"/>
          </a:effectRef>
          <a:fontRef idx="minor">
            <a:schemeClr val="tx1"/>
          </a:fontRef>
        </p:style>
      </p:cxnSp>
      <p:sp>
        <p:nvSpPr>
          <p:cNvPr id="3" name="Google Shape;1545;p39">
            <a:extLst>
              <a:ext uri="{FF2B5EF4-FFF2-40B4-BE49-F238E27FC236}">
                <a16:creationId xmlns:a16="http://schemas.microsoft.com/office/drawing/2014/main" id="{F047E323-E10B-34CE-A618-BBC9B3B0E175}"/>
              </a:ext>
            </a:extLst>
          </p:cNvPr>
          <p:cNvSpPr txBox="1"/>
          <p:nvPr/>
        </p:nvSpPr>
        <p:spPr>
          <a:xfrm>
            <a:off x="1099751" y="3174833"/>
            <a:ext cx="2976853" cy="529096"/>
          </a:xfrm>
          <a:prstGeom prst="rect">
            <a:avLst/>
          </a:prstGeom>
          <a:noFill/>
          <a:ln>
            <a:noFill/>
          </a:ln>
        </p:spPr>
        <p:txBody>
          <a:bodyPr spcFirstLastPara="1" wrap="square" lIns="91425" tIns="91425" rIns="91425" bIns="91425" anchor="ctr" anchorCtr="0">
            <a:no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0" lvl="0" indent="0" algn="ctr" rtl="0">
              <a:spcBef>
                <a:spcPct val="0"/>
              </a:spcBef>
              <a:spcAft>
                <a:spcPct val="0"/>
              </a:spcAft>
              <a:buNone/>
            </a:pPr>
            <a:r>
              <a:rPr lang="en" sz="2400" b="1" dirty="0">
                <a:solidFill>
                  <a:schemeClr val="lt1"/>
                </a:solidFill>
              </a:rPr>
              <a:t>Overskydende driftsformue</a:t>
            </a:r>
            <a:endParaRPr sz="2400" b="1" dirty="0">
              <a:solidFill>
                <a:schemeClr val="lt1"/>
              </a:solidFill>
            </a:endParaRPr>
          </a:p>
        </p:txBody>
      </p:sp>
      <p:sp>
        <p:nvSpPr>
          <p:cNvPr id="4" name="1 Shape Name"/>
          <p:cNvSpPr>
            <a:spLocks noGrp="1"/>
          </p:cNvSpPr>
          <p:nvPr>
            <p:ph type="title"/>
          </p:nvPr>
        </p:nvSpPr>
        <p:spPr>
          <a:prstGeom prst="rect">
            <a:avLst/>
          </a:prstGeom>
        </p:spPr>
        <p:txBody>
          <a:bodyPr/>
          <a:lstStyle/>
          <a:p>
            <a:r>
              <a:rPr lang="en-US" dirty="0" err="1"/>
              <a:t>Økonomien</a:t>
            </a:r>
            <a:r>
              <a:rPr lang="en-US" dirty="0"/>
              <a:t> </a:t>
            </a:r>
            <a:r>
              <a:rPr lang="en-US" dirty="0" err="1"/>
              <a:t>i</a:t>
            </a:r>
            <a:r>
              <a:rPr lang="en-US" dirty="0"/>
              <a:t> </a:t>
            </a:r>
            <a:r>
              <a:rPr lang="en-US" dirty="0" err="1"/>
              <a:t>en</a:t>
            </a:r>
            <a:r>
              <a:rPr lang="en-US" dirty="0"/>
              <a:t> </a:t>
            </a:r>
            <a:r>
              <a:rPr lang="en-US" dirty="0" err="1"/>
              <a:t>Røde</a:t>
            </a:r>
            <a:r>
              <a:rPr lang="en-US" dirty="0"/>
              <a:t> Kors </a:t>
            </a:r>
            <a:r>
              <a:rPr lang="en-US" dirty="0" err="1"/>
              <a:t>afdeling</a:t>
            </a:r>
            <a:br>
              <a:rPr lang="en-US" dirty="0"/>
            </a:br>
            <a:r>
              <a:rPr lang="en-US" sz="1800" dirty="0"/>
              <a:t>34% </a:t>
            </a:r>
            <a:r>
              <a:rPr lang="en-US" sz="1800" dirty="0" err="1"/>
              <a:t>og</a:t>
            </a:r>
            <a:r>
              <a:rPr lang="en-US" sz="1800" dirty="0"/>
              <a:t> </a:t>
            </a:r>
            <a:r>
              <a:rPr lang="en-US" sz="1800" dirty="0" err="1"/>
              <a:t>overskydende</a:t>
            </a:r>
            <a:r>
              <a:rPr lang="en-US" sz="1800" dirty="0"/>
              <a:t> </a:t>
            </a:r>
            <a:r>
              <a:rPr lang="en-US" sz="1800" dirty="0" err="1"/>
              <a:t>driftsformue</a:t>
            </a:r>
            <a:endParaRPr dirty="0"/>
          </a:p>
        </p:txBody>
      </p:sp>
      <p:sp>
        <p:nvSpPr>
          <p:cNvPr id="7" name="Footer Placeholder 3">
            <a:extLst>
              <a:ext uri="{FF2B5EF4-FFF2-40B4-BE49-F238E27FC236}">
                <a16:creationId xmlns:a16="http://schemas.microsoft.com/office/drawing/2014/main" id="{31EB6B75-DDC6-CACD-4A2D-037F9E192BEE}"/>
              </a:ext>
            </a:extLst>
          </p:cNvPr>
          <p:cNvSpPr txBox="1">
            <a:spLocks/>
          </p:cNvSpPr>
          <p:nvPr/>
        </p:nvSpPr>
        <p:spPr>
          <a:xfrm>
            <a:off x="838199" y="6413500"/>
            <a:ext cx="10515599" cy="237600"/>
          </a:xfrm>
          <a:prstGeom prst="rect">
            <a:avLst/>
          </a:prstGeom>
        </p:spPr>
        <p:txBody>
          <a:bodyPr vert="horz" lIns="0" tIns="0" rIns="0" bIns="0" rtlCol="0" anchor="ctr"/>
          <a:lstStyle>
            <a:defPPr>
              <a:defRPr lang="da-DK"/>
            </a:defPPr>
            <a:lvl1pPr algn="ctr">
              <a:defRPr sz="900"/>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a-DK" dirty="0"/>
              <a:t>RØDE KORS / Introduktionskursus for nye kasserere / 2025</a:t>
            </a:r>
          </a:p>
        </p:txBody>
      </p:sp>
    </p:spTree>
    <p:custDataLst>
      <p:tags r:id="rId1"/>
    </p:custDataLst>
    <p:extLst>
      <p:ext uri="{BB962C8B-B14F-4D97-AF65-F5344CB8AC3E}">
        <p14:creationId xmlns:p14="http://schemas.microsoft.com/office/powerpoint/2010/main" val="48644491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animBg="1"/>
      <p:bldP spid="3"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E3A6E0-6234-000F-F334-15EBE1022729}"/>
              </a:ext>
            </a:extLst>
          </p:cNvPr>
          <p:cNvSpPr>
            <a:spLocks noGrp="1"/>
          </p:cNvSpPr>
          <p:nvPr>
            <p:ph type="ctrTitle"/>
          </p:nvPr>
        </p:nvSpPr>
        <p:spPr>
          <a:xfrm>
            <a:off x="727973" y="563525"/>
            <a:ext cx="10723483" cy="2169275"/>
          </a:xfrm>
        </p:spPr>
        <p:txBody>
          <a:bodyPr>
            <a:noAutofit/>
          </a:bodyPr>
          <a:lstStyle/>
          <a:p>
            <a:r>
              <a:rPr lang="en-US" sz="5800" dirty="0" err="1"/>
              <a:t>Introduktionskursus</a:t>
            </a:r>
            <a:r>
              <a:rPr lang="en-US" sz="5800" dirty="0"/>
              <a:t> for nye </a:t>
            </a:r>
            <a:r>
              <a:rPr lang="en-US" sz="5800" dirty="0" err="1"/>
              <a:t>kasserere</a:t>
            </a:r>
            <a:endParaRPr lang="da-DK" sz="5800" dirty="0"/>
          </a:p>
        </p:txBody>
      </p:sp>
      <p:sp>
        <p:nvSpPr>
          <p:cNvPr id="6" name="Subtitle 5">
            <a:extLst>
              <a:ext uri="{FF2B5EF4-FFF2-40B4-BE49-F238E27FC236}">
                <a16:creationId xmlns:a16="http://schemas.microsoft.com/office/drawing/2014/main" id="{4DBE5B37-A1C9-779E-A660-5645B2E1F5AB}"/>
              </a:ext>
            </a:extLst>
          </p:cNvPr>
          <p:cNvSpPr>
            <a:spLocks noGrp="1"/>
          </p:cNvSpPr>
          <p:nvPr>
            <p:ph type="subTitle" idx="1"/>
          </p:nvPr>
        </p:nvSpPr>
        <p:spPr/>
        <p:txBody>
          <a:bodyPr/>
          <a:lstStyle/>
          <a:p>
            <a:r>
              <a:rPr lang="en-US" b="1" dirty="0" err="1"/>
              <a:t>Forår</a:t>
            </a:r>
            <a:r>
              <a:rPr lang="en-US" b="1" dirty="0"/>
              <a:t> 2025</a:t>
            </a:r>
            <a:endParaRPr lang="da-DK" b="1" dirty="0"/>
          </a:p>
        </p:txBody>
      </p:sp>
    </p:spTree>
    <p:extLst>
      <p:ext uri="{BB962C8B-B14F-4D97-AF65-F5344CB8AC3E}">
        <p14:creationId xmlns:p14="http://schemas.microsoft.com/office/powerpoint/2010/main" val="378027615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357A653D-A26E-FE9B-2B43-A4CF451133C1}"/>
              </a:ext>
            </a:extLst>
          </p:cNvPr>
          <p:cNvSpPr>
            <a:spLocks noGrp="1"/>
          </p:cNvSpPr>
          <p:nvPr>
            <p:ph type="title"/>
          </p:nvPr>
        </p:nvSpPr>
        <p:spPr/>
        <p:txBody>
          <a:bodyPr/>
          <a:lstStyle/>
          <a:p>
            <a:r>
              <a:rPr lang="en-US" dirty="0" err="1"/>
              <a:t>Fælles</a:t>
            </a:r>
            <a:r>
              <a:rPr lang="en-US" dirty="0"/>
              <a:t> </a:t>
            </a:r>
            <a:r>
              <a:rPr lang="en-US" dirty="0" err="1"/>
              <a:t>økonomisystem</a:t>
            </a:r>
            <a:br>
              <a:rPr lang="en-US" dirty="0"/>
            </a:br>
            <a:r>
              <a:rPr lang="en-US" dirty="0"/>
              <a:t>– </a:t>
            </a:r>
            <a:r>
              <a:rPr lang="en-US" dirty="0" err="1"/>
              <a:t>kontoplan</a:t>
            </a:r>
            <a:r>
              <a:rPr lang="en-US" dirty="0"/>
              <a:t> med </a:t>
            </a:r>
            <a:r>
              <a:rPr lang="en-US" dirty="0" err="1"/>
              <a:t>dimensioner</a:t>
            </a:r>
            <a:endParaRPr lang="da-DK" dirty="0"/>
          </a:p>
        </p:txBody>
      </p:sp>
      <p:sp>
        <p:nvSpPr>
          <p:cNvPr id="7" name="Footer Placeholder 6">
            <a:extLst>
              <a:ext uri="{FF2B5EF4-FFF2-40B4-BE49-F238E27FC236}">
                <a16:creationId xmlns:a16="http://schemas.microsoft.com/office/drawing/2014/main" id="{5D1E2CA9-AB08-213E-605A-1060A2378DA5}"/>
              </a:ext>
            </a:extLst>
          </p:cNvPr>
          <p:cNvSpPr>
            <a:spLocks noGrp="1"/>
          </p:cNvSpPr>
          <p:nvPr>
            <p:ph type="ftr" sz="quarter" idx="11"/>
          </p:nvPr>
        </p:nvSpPr>
        <p:spPr/>
        <p:txBody>
          <a:bodyPr/>
          <a:lstStyle/>
          <a:p>
            <a:r>
              <a:rPr lang="da-DK" dirty="0"/>
              <a:t>RØDE KORS / Introduktionskursus for nye kasserere / 2025</a:t>
            </a:r>
          </a:p>
        </p:txBody>
      </p:sp>
      <p:sp>
        <p:nvSpPr>
          <p:cNvPr id="14" name="Ellipse 13">
            <a:extLst>
              <a:ext uri="{FF2B5EF4-FFF2-40B4-BE49-F238E27FC236}">
                <a16:creationId xmlns:a16="http://schemas.microsoft.com/office/drawing/2014/main" id="{6D1DFD1A-614C-D421-A881-FA65B0EBDFD1}"/>
              </a:ext>
            </a:extLst>
          </p:cNvPr>
          <p:cNvSpPr/>
          <p:nvPr/>
        </p:nvSpPr>
        <p:spPr>
          <a:xfrm>
            <a:off x="706888" y="2807830"/>
            <a:ext cx="1335915" cy="1335915"/>
          </a:xfrm>
          <a:prstGeom prst="ellipse">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da-DK"/>
          </a:p>
        </p:txBody>
      </p:sp>
      <p:grpSp>
        <p:nvGrpSpPr>
          <p:cNvPr id="15" name="Gruppe 14">
            <a:extLst>
              <a:ext uri="{FF2B5EF4-FFF2-40B4-BE49-F238E27FC236}">
                <a16:creationId xmlns:a16="http://schemas.microsoft.com/office/drawing/2014/main" id="{369E24D0-3229-495C-8B43-2AE2B95E9119}"/>
              </a:ext>
            </a:extLst>
          </p:cNvPr>
          <p:cNvGrpSpPr/>
          <p:nvPr/>
        </p:nvGrpSpPr>
        <p:grpSpPr>
          <a:xfrm>
            <a:off x="2329070" y="2807830"/>
            <a:ext cx="3398630" cy="1335915"/>
            <a:chOff x="1834517" y="487677"/>
            <a:chExt cx="3398630" cy="1335915"/>
          </a:xfrm>
        </p:grpSpPr>
        <p:sp>
          <p:nvSpPr>
            <p:cNvPr id="16" name="Rektangel 15">
              <a:extLst>
                <a:ext uri="{FF2B5EF4-FFF2-40B4-BE49-F238E27FC236}">
                  <a16:creationId xmlns:a16="http://schemas.microsoft.com/office/drawing/2014/main" id="{1F11E8BA-2546-CD0A-D406-FAD8F4611295}"/>
                </a:ext>
              </a:extLst>
            </p:cNvPr>
            <p:cNvSpPr/>
            <p:nvPr/>
          </p:nvSpPr>
          <p:spPr>
            <a:xfrm>
              <a:off x="1834517" y="487677"/>
              <a:ext cx="3148942" cy="1335915"/>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da-DK" sz="1600"/>
            </a:p>
          </p:txBody>
        </p:sp>
        <p:sp>
          <p:nvSpPr>
            <p:cNvPr id="17" name="Tekstfelt 16">
              <a:extLst>
                <a:ext uri="{FF2B5EF4-FFF2-40B4-BE49-F238E27FC236}">
                  <a16:creationId xmlns:a16="http://schemas.microsoft.com/office/drawing/2014/main" id="{62AB905D-58AB-6E67-A614-2EDB64216F76}"/>
                </a:ext>
              </a:extLst>
            </p:cNvPr>
            <p:cNvSpPr txBox="1"/>
            <p:nvPr/>
          </p:nvSpPr>
          <p:spPr>
            <a:xfrm>
              <a:off x="1834517" y="487677"/>
              <a:ext cx="3398630" cy="1335915"/>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lvl="0" indent="0" defTabSz="755650">
                <a:lnSpc>
                  <a:spcPct val="100000"/>
                </a:lnSpc>
                <a:spcBef>
                  <a:spcPct val="0"/>
                </a:spcBef>
                <a:spcAft>
                  <a:spcPct val="35000"/>
                </a:spcAft>
                <a:buNone/>
              </a:pPr>
              <a:r>
                <a:rPr lang="da-DK" sz="1600" kern="1200" dirty="0"/>
                <a:t>Fra 2024 føres afdelingernes regnskab i Uniconta.</a:t>
              </a:r>
              <a:endParaRPr lang="en-US" sz="1600" kern="1200" dirty="0"/>
            </a:p>
          </p:txBody>
        </p:sp>
      </p:grpSp>
      <p:sp>
        <p:nvSpPr>
          <p:cNvPr id="22" name="Ellipse 21">
            <a:extLst>
              <a:ext uri="{FF2B5EF4-FFF2-40B4-BE49-F238E27FC236}">
                <a16:creationId xmlns:a16="http://schemas.microsoft.com/office/drawing/2014/main" id="{8DA00D01-3991-7805-033A-514F1CCF567E}"/>
              </a:ext>
            </a:extLst>
          </p:cNvPr>
          <p:cNvSpPr/>
          <p:nvPr/>
        </p:nvSpPr>
        <p:spPr>
          <a:xfrm>
            <a:off x="6220723" y="2807830"/>
            <a:ext cx="1335915" cy="1335915"/>
          </a:xfrm>
          <a:prstGeom prst="ellipse">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da-DK"/>
          </a:p>
        </p:txBody>
      </p:sp>
      <p:grpSp>
        <p:nvGrpSpPr>
          <p:cNvPr id="23" name="Gruppe 22">
            <a:extLst>
              <a:ext uri="{FF2B5EF4-FFF2-40B4-BE49-F238E27FC236}">
                <a16:creationId xmlns:a16="http://schemas.microsoft.com/office/drawing/2014/main" id="{A38703BE-CD9F-2F11-B46C-9D5AB513D77B}"/>
              </a:ext>
            </a:extLst>
          </p:cNvPr>
          <p:cNvGrpSpPr/>
          <p:nvPr/>
        </p:nvGrpSpPr>
        <p:grpSpPr>
          <a:xfrm>
            <a:off x="7842906" y="2389188"/>
            <a:ext cx="3828394" cy="1335915"/>
            <a:chOff x="7154322" y="487677"/>
            <a:chExt cx="3415179" cy="1335915"/>
          </a:xfrm>
        </p:grpSpPr>
        <p:sp>
          <p:nvSpPr>
            <p:cNvPr id="24" name="Rektangel 23">
              <a:extLst>
                <a:ext uri="{FF2B5EF4-FFF2-40B4-BE49-F238E27FC236}">
                  <a16:creationId xmlns:a16="http://schemas.microsoft.com/office/drawing/2014/main" id="{736DEFE9-38AF-6BED-8F80-EE3FDF32F14B}"/>
                </a:ext>
              </a:extLst>
            </p:cNvPr>
            <p:cNvSpPr/>
            <p:nvPr/>
          </p:nvSpPr>
          <p:spPr>
            <a:xfrm>
              <a:off x="7154322" y="487677"/>
              <a:ext cx="3148942" cy="1335915"/>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da-DK" sz="1600"/>
            </a:p>
          </p:txBody>
        </p:sp>
        <p:sp>
          <p:nvSpPr>
            <p:cNvPr id="25" name="Tekstfelt 24">
              <a:extLst>
                <a:ext uri="{FF2B5EF4-FFF2-40B4-BE49-F238E27FC236}">
                  <a16:creationId xmlns:a16="http://schemas.microsoft.com/office/drawing/2014/main" id="{0D52477B-8FC3-0FE9-9C9F-69318B2E2E6D}"/>
                </a:ext>
              </a:extLst>
            </p:cNvPr>
            <p:cNvSpPr txBox="1"/>
            <p:nvPr/>
          </p:nvSpPr>
          <p:spPr>
            <a:xfrm>
              <a:off x="7154322" y="487677"/>
              <a:ext cx="3415179" cy="1335915"/>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0" bIns="0" numCol="1" spcCol="1270" anchor="ctr" anchorCtr="0">
              <a:noAutofit/>
            </a:bodyPr>
            <a:lstStyle/>
            <a:p>
              <a:pPr marL="0" lvl="0" indent="0" defTabSz="755650">
                <a:lnSpc>
                  <a:spcPct val="100000"/>
                </a:lnSpc>
                <a:spcBef>
                  <a:spcPct val="0"/>
                </a:spcBef>
                <a:spcAft>
                  <a:spcPct val="35000"/>
                </a:spcAft>
                <a:buNone/>
              </a:pPr>
              <a:endParaRPr lang="en-US" sz="1600" kern="1200"/>
            </a:p>
          </p:txBody>
        </p:sp>
      </p:grpSp>
      <p:pic>
        <p:nvPicPr>
          <p:cNvPr id="4" name="Grafik 3">
            <a:extLst>
              <a:ext uri="{FF2B5EF4-FFF2-40B4-BE49-F238E27FC236}">
                <a16:creationId xmlns:a16="http://schemas.microsoft.com/office/drawing/2014/main" id="{EF663133-0A75-70D3-D4D9-1D78A4DCB0E9}"/>
              </a:ext>
            </a:extLst>
          </p:cNvPr>
          <p:cNvPicPr>
            <a:picLocks noChangeAspect="1"/>
          </p:cNvPicPr>
          <p:nvPr>
            <p:custDataLst>
              <p:tags r:id="rId1"/>
            </p:custDataLst>
          </p:nvPr>
        </p:nvPicPr>
        <p:blipFill>
          <a:blip r:embed="rId5">
            <a:extLst>
              <a:ext uri="{96DAC541-7B7A-43D3-8B79-37D633B846F1}">
                <asvg:svgBlip xmlns:asvg="http://schemas.microsoft.com/office/drawing/2016/SVG/main" r:embed="rId6"/>
              </a:ext>
            </a:extLst>
          </a:blip>
          <a:stretch>
            <a:fillRect/>
          </a:stretch>
        </p:blipFill>
        <p:spPr>
          <a:xfrm>
            <a:off x="1028580" y="3129522"/>
            <a:ext cx="692530" cy="692530"/>
          </a:xfrm>
          <a:prstGeom prst="rect">
            <a:avLst/>
          </a:prstGeom>
        </p:spPr>
      </p:pic>
      <p:sp>
        <p:nvSpPr>
          <p:cNvPr id="3" name="Tekstfelt 2">
            <a:extLst>
              <a:ext uri="{FF2B5EF4-FFF2-40B4-BE49-F238E27FC236}">
                <a16:creationId xmlns:a16="http://schemas.microsoft.com/office/drawing/2014/main" id="{D8005E03-C3AC-94F6-2B97-D1399431F314}"/>
              </a:ext>
            </a:extLst>
          </p:cNvPr>
          <p:cNvSpPr txBox="1"/>
          <p:nvPr/>
        </p:nvSpPr>
        <p:spPr>
          <a:xfrm>
            <a:off x="7729400" y="3057941"/>
            <a:ext cx="3643450" cy="584775"/>
          </a:xfrm>
          <a:prstGeom prst="rect">
            <a:avLst/>
          </a:prstGeom>
          <a:noFill/>
        </p:spPr>
        <p:txBody>
          <a:bodyPr wrap="square">
            <a:spAutoFit/>
          </a:bodyPr>
          <a:lstStyle/>
          <a:p>
            <a:r>
              <a:rPr lang="da-DK" sz="1600" kern="1200" dirty="0"/>
              <a:t>Det afspejles i en enklere kontoplan med dimensioner</a:t>
            </a:r>
            <a:endParaRPr lang="da-DK" sz="1600" dirty="0"/>
          </a:p>
        </p:txBody>
      </p:sp>
      <p:pic>
        <p:nvPicPr>
          <p:cNvPr id="5" name="Grafik 4">
            <a:extLst>
              <a:ext uri="{FF2B5EF4-FFF2-40B4-BE49-F238E27FC236}">
                <a16:creationId xmlns:a16="http://schemas.microsoft.com/office/drawing/2014/main" id="{69A16A29-6814-EBAB-15F0-CB0BCD92FD44}"/>
              </a:ext>
            </a:extLst>
          </p:cNvPr>
          <p:cNvPicPr>
            <a:picLocks noChangeAspect="1"/>
          </p:cNvPicPr>
          <p:nvPr>
            <p:custDataLst>
              <p:tags r:id="rId2"/>
            </p:custDataLst>
          </p:nvPr>
        </p:nvPicPr>
        <p:blipFill>
          <a:blip r:embed="rId7">
            <a:extLst>
              <a:ext uri="{96DAC541-7B7A-43D3-8B79-37D633B846F1}">
                <asvg:svgBlip xmlns:asvg="http://schemas.microsoft.com/office/drawing/2016/SVG/main" r:embed="rId8"/>
              </a:ext>
            </a:extLst>
          </a:blip>
          <a:stretch>
            <a:fillRect/>
          </a:stretch>
        </p:blipFill>
        <p:spPr>
          <a:xfrm>
            <a:off x="6541208" y="3152698"/>
            <a:ext cx="694944" cy="694944"/>
          </a:xfrm>
          <a:prstGeom prst="rect">
            <a:avLst/>
          </a:prstGeom>
        </p:spPr>
      </p:pic>
    </p:spTree>
    <p:extLst>
      <p:ext uri="{BB962C8B-B14F-4D97-AF65-F5344CB8AC3E}">
        <p14:creationId xmlns:p14="http://schemas.microsoft.com/office/powerpoint/2010/main" val="41383966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8B60B1-F78B-43AA-8F32-69FF0A33C5F6}"/>
              </a:ext>
            </a:extLst>
          </p:cNvPr>
          <p:cNvSpPr>
            <a:spLocks noGrp="1"/>
          </p:cNvSpPr>
          <p:nvPr>
            <p:ph type="title"/>
          </p:nvPr>
        </p:nvSpPr>
        <p:spPr>
          <a:xfrm>
            <a:off x="838200" y="415424"/>
            <a:ext cx="10515600" cy="399820"/>
          </a:xfrm>
        </p:spPr>
        <p:txBody>
          <a:bodyPr/>
          <a:lstStyle/>
          <a:p>
            <a:r>
              <a:rPr lang="da-DK" sz="2900" dirty="0"/>
              <a:t>Det dobbelte bogføringsprincip</a:t>
            </a:r>
          </a:p>
        </p:txBody>
      </p:sp>
      <p:sp>
        <p:nvSpPr>
          <p:cNvPr id="4" name="Footer Placeholder 3">
            <a:extLst>
              <a:ext uri="{FF2B5EF4-FFF2-40B4-BE49-F238E27FC236}">
                <a16:creationId xmlns:a16="http://schemas.microsoft.com/office/drawing/2014/main" id="{F4F04623-D237-433D-BD8C-51932972D7AC}"/>
              </a:ext>
            </a:extLst>
          </p:cNvPr>
          <p:cNvSpPr>
            <a:spLocks noGrp="1"/>
          </p:cNvSpPr>
          <p:nvPr>
            <p:ph type="ftr" sz="quarter" idx="11"/>
          </p:nvPr>
        </p:nvSpPr>
        <p:spPr/>
        <p:txBody>
          <a:bodyPr/>
          <a:lstStyle/>
          <a:p>
            <a:pPr>
              <a:spcAft>
                <a:spcPts val="600"/>
              </a:spcAft>
            </a:pPr>
            <a:r>
              <a:rPr lang="da-DK" dirty="0"/>
              <a:t>RØDE KORS / Introduktionskursus for nye kasserere / 2025</a:t>
            </a:r>
          </a:p>
        </p:txBody>
      </p:sp>
      <p:sp>
        <p:nvSpPr>
          <p:cNvPr id="3" name="Content Placeholder 2">
            <a:extLst>
              <a:ext uri="{FF2B5EF4-FFF2-40B4-BE49-F238E27FC236}">
                <a16:creationId xmlns:a16="http://schemas.microsoft.com/office/drawing/2014/main" id="{F4F8CE14-0D98-43C8-8E66-5F3DB4C5661E}"/>
              </a:ext>
            </a:extLst>
          </p:cNvPr>
          <p:cNvSpPr>
            <a:spLocks noGrp="1"/>
          </p:cNvSpPr>
          <p:nvPr>
            <p:ph idx="4294967295"/>
          </p:nvPr>
        </p:nvSpPr>
        <p:spPr>
          <a:xfrm>
            <a:off x="2743210" y="5680207"/>
            <a:ext cx="3513138" cy="676275"/>
          </a:xfrm>
        </p:spPr>
        <p:txBody>
          <a:bodyPr>
            <a:normAutofit/>
          </a:bodyPr>
          <a:lstStyle/>
          <a:p>
            <a:pPr marL="0" indent="0" algn="ctr">
              <a:buNone/>
            </a:pPr>
            <a:r>
              <a:rPr lang="da-DK" dirty="0"/>
              <a:t>D</a:t>
            </a:r>
            <a:r>
              <a:rPr lang="da-DK" sz="1600" dirty="0"/>
              <a:t>er skal altid registreres på mindst 2 forskellige konti</a:t>
            </a:r>
          </a:p>
        </p:txBody>
      </p:sp>
      <p:sp>
        <p:nvSpPr>
          <p:cNvPr id="10" name="Content Placeholder 2">
            <a:extLst>
              <a:ext uri="{FF2B5EF4-FFF2-40B4-BE49-F238E27FC236}">
                <a16:creationId xmlns:a16="http://schemas.microsoft.com/office/drawing/2014/main" id="{49B5B5C8-6AAC-40FA-B613-612CC62C16B1}"/>
              </a:ext>
            </a:extLst>
          </p:cNvPr>
          <p:cNvSpPr txBox="1">
            <a:spLocks/>
          </p:cNvSpPr>
          <p:nvPr/>
        </p:nvSpPr>
        <p:spPr>
          <a:xfrm>
            <a:off x="6143938" y="5691169"/>
            <a:ext cx="3204790" cy="676590"/>
          </a:xfrm>
          <a:prstGeom prst="rect">
            <a:avLst/>
          </a:prstGeom>
        </p:spPr>
        <p:txBody>
          <a:bodyPr vert="horz" lIns="0" tIns="0" rIns="0" bIns="0" rtlCol="0">
            <a:normAutofit/>
          </a:bodyPr>
          <a:lstStyle>
            <a:lvl1pPr marL="0" indent="0" algn="l" defTabSz="914400" rtl="0" eaLnBrk="1" latinLnBrk="0" hangingPunct="1">
              <a:lnSpc>
                <a:spcPct val="110000"/>
              </a:lnSpc>
              <a:spcBef>
                <a:spcPts val="2400"/>
              </a:spcBef>
              <a:spcAft>
                <a:spcPts val="0"/>
              </a:spcAft>
              <a:buFontTx/>
              <a:buNone/>
              <a:defRPr sz="1800" b="0" kern="1200">
                <a:solidFill>
                  <a:schemeClr val="tx1"/>
                </a:solidFill>
                <a:latin typeface="+mn-lt"/>
                <a:ea typeface="+mn-ea"/>
                <a:cs typeface="+mn-cs"/>
              </a:defRPr>
            </a:lvl1pPr>
            <a:lvl2pPr marL="285750" indent="-285750" algn="l" defTabSz="914400" rtl="0" eaLnBrk="1" latinLnBrk="0" hangingPunct="1">
              <a:lnSpc>
                <a:spcPct val="110000"/>
              </a:lnSpc>
              <a:spcBef>
                <a:spcPts val="2400"/>
              </a:spcBef>
              <a:spcAft>
                <a:spcPts val="0"/>
              </a:spcAft>
              <a:buClr>
                <a:schemeClr val="tx1"/>
              </a:buClr>
              <a:buFont typeface="Verdana" pitchFamily="34" charset="0"/>
              <a:buChar char="•"/>
              <a:defRPr sz="1800" kern="1200">
                <a:solidFill>
                  <a:schemeClr val="tx1"/>
                </a:solidFill>
                <a:latin typeface="+mn-lt"/>
                <a:ea typeface="+mn-ea"/>
                <a:cs typeface="+mn-cs"/>
              </a:defRPr>
            </a:lvl2pPr>
            <a:lvl3pPr marL="585788" indent="-296863" algn="l" defTabSz="914400" rtl="0" eaLnBrk="1" latinLnBrk="0" hangingPunct="1">
              <a:lnSpc>
                <a:spcPct val="110000"/>
              </a:lnSpc>
              <a:spcBef>
                <a:spcPts val="0"/>
              </a:spcBef>
              <a:buFont typeface="Verdana" pitchFamily="34" charset="0"/>
              <a:buChar char="–"/>
              <a:defRPr sz="1800" kern="1200">
                <a:solidFill>
                  <a:schemeClr val="tx1"/>
                </a:solidFill>
                <a:latin typeface="+mn-lt"/>
                <a:ea typeface="+mn-ea"/>
                <a:cs typeface="+mn-cs"/>
              </a:defRPr>
            </a:lvl3pPr>
            <a:lvl4pPr marL="854075" indent="-268288" algn="l" defTabSz="914400" rtl="0" eaLnBrk="1" latinLnBrk="0" hangingPunct="1">
              <a:lnSpc>
                <a:spcPct val="110000"/>
              </a:lnSpc>
              <a:spcBef>
                <a:spcPts val="0"/>
              </a:spcBef>
              <a:buFont typeface="Arial" pitchFamily="34" charset="0"/>
              <a:buChar char="–"/>
              <a:defRPr sz="1600" kern="1200">
                <a:solidFill>
                  <a:schemeClr val="tx1"/>
                </a:solidFill>
                <a:latin typeface="+mn-lt"/>
                <a:ea typeface="+mn-ea"/>
                <a:cs typeface="+mn-cs"/>
              </a:defRPr>
            </a:lvl4pPr>
            <a:lvl5pPr marL="1112838" indent="-247650" algn="l" defTabSz="914400" rtl="0" eaLnBrk="1" latinLnBrk="0" hangingPunct="1">
              <a:lnSpc>
                <a:spcPct val="110000"/>
              </a:lnSpc>
              <a:spcBef>
                <a:spcPts val="0"/>
              </a:spcBef>
              <a:buFont typeface="Verdana"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da-DK" sz="1600" dirty="0"/>
              <a:t>Der skal altid føres lige meget i debet og i kredit</a:t>
            </a:r>
          </a:p>
        </p:txBody>
      </p:sp>
      <p:pic>
        <p:nvPicPr>
          <p:cNvPr id="17" name="Billede 16" descr="Et billede, der indeholder linje/række, Font/skrifttype, design&#10;&#10;Indhold genereret af kunstig intelligens kan være forkert.">
            <a:extLst>
              <a:ext uri="{FF2B5EF4-FFF2-40B4-BE49-F238E27FC236}">
                <a16:creationId xmlns:a16="http://schemas.microsoft.com/office/drawing/2014/main" id="{B3B33690-4307-A328-891C-7C07A59DA71D}"/>
              </a:ext>
            </a:extLst>
          </p:cNvPr>
          <p:cNvPicPr>
            <a:picLocks noChangeAspect="1"/>
          </p:cNvPicPr>
          <p:nvPr/>
        </p:nvPicPr>
        <p:blipFill>
          <a:blip r:embed="rId3">
            <a:extLst>
              <a:ext uri="{28A0092B-C50C-407E-A947-70E740481C1C}">
                <a14:useLocalDpi xmlns:a14="http://schemas.microsoft.com/office/drawing/2010/main" val="0"/>
              </a:ext>
            </a:extLst>
          </a:blip>
          <a:srcRect r="4016"/>
          <a:stretch/>
        </p:blipFill>
        <p:spPr>
          <a:xfrm>
            <a:off x="5093066" y="2109218"/>
            <a:ext cx="1942565" cy="1722971"/>
          </a:xfrm>
          <a:prstGeom prst="rect">
            <a:avLst/>
          </a:prstGeom>
        </p:spPr>
      </p:pic>
      <p:pic>
        <p:nvPicPr>
          <p:cNvPr id="19" name="Billede 18" descr="Et billede, der indeholder tekst, Font/skrifttype, skærmbillede, linje/række&#10;&#10;Indhold genereret af kunstig intelligens kan være forkert.">
            <a:extLst>
              <a:ext uri="{FF2B5EF4-FFF2-40B4-BE49-F238E27FC236}">
                <a16:creationId xmlns:a16="http://schemas.microsoft.com/office/drawing/2014/main" id="{D968F1E1-1EE2-EC2C-13CA-B8DC91D8F25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24397" y="1178377"/>
            <a:ext cx="1917227" cy="1942565"/>
          </a:xfrm>
          <a:prstGeom prst="rect">
            <a:avLst/>
          </a:prstGeom>
        </p:spPr>
      </p:pic>
      <p:pic>
        <p:nvPicPr>
          <p:cNvPr id="21" name="Billede 20" descr="Et billede, der indeholder tekst, Font/skrifttype, skærmbillede, linje/række&#10;&#10;Indhold genereret af kunstig intelligens kan være forkert.">
            <a:extLst>
              <a:ext uri="{FF2B5EF4-FFF2-40B4-BE49-F238E27FC236}">
                <a16:creationId xmlns:a16="http://schemas.microsoft.com/office/drawing/2014/main" id="{0E391901-555B-16E3-013B-A73EF6F368D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74836" y="1173494"/>
            <a:ext cx="1942565" cy="1934119"/>
          </a:xfrm>
          <a:prstGeom prst="rect">
            <a:avLst/>
          </a:prstGeom>
        </p:spPr>
      </p:pic>
      <p:pic>
        <p:nvPicPr>
          <p:cNvPr id="23" name="Billede 22" descr="Et billede, der indeholder tekst, Font/skrifttype, skærmbillede, linje/række&#10;&#10;Indhold genereret af kunstig intelligens kan være forkert.">
            <a:extLst>
              <a:ext uri="{FF2B5EF4-FFF2-40B4-BE49-F238E27FC236}">
                <a16:creationId xmlns:a16="http://schemas.microsoft.com/office/drawing/2014/main" id="{16BE7385-D6F3-94CB-EB35-A2265C9D185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222921" y="3436837"/>
            <a:ext cx="1891889" cy="1942565"/>
          </a:xfrm>
          <a:prstGeom prst="rect">
            <a:avLst/>
          </a:prstGeom>
        </p:spPr>
      </p:pic>
      <p:pic>
        <p:nvPicPr>
          <p:cNvPr id="25" name="Billede 24" descr="Et billede, der indeholder tekst, Font/skrifttype, skærmbillede, linje/række&#10;&#10;Indhold genereret af kunstig intelligens kan være forkert.">
            <a:extLst>
              <a:ext uri="{FF2B5EF4-FFF2-40B4-BE49-F238E27FC236}">
                <a16:creationId xmlns:a16="http://schemas.microsoft.com/office/drawing/2014/main" id="{98F96ADF-AA4C-FD23-0283-6E8D772C6BF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079028" y="3441059"/>
            <a:ext cx="1934119" cy="1934119"/>
          </a:xfrm>
          <a:prstGeom prst="rect">
            <a:avLst/>
          </a:prstGeom>
        </p:spPr>
      </p:pic>
    </p:spTree>
    <p:extLst>
      <p:ext uri="{BB962C8B-B14F-4D97-AF65-F5344CB8AC3E}">
        <p14:creationId xmlns:p14="http://schemas.microsoft.com/office/powerpoint/2010/main" val="27127446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F4F04623-D237-433D-BD8C-51932972D7AC}"/>
              </a:ext>
            </a:extLst>
          </p:cNvPr>
          <p:cNvSpPr>
            <a:spLocks noGrp="1"/>
          </p:cNvSpPr>
          <p:nvPr>
            <p:ph type="ftr" sz="quarter" idx="11"/>
          </p:nvPr>
        </p:nvSpPr>
        <p:spPr/>
        <p:txBody>
          <a:bodyPr/>
          <a:lstStyle/>
          <a:p>
            <a:pPr>
              <a:spcAft>
                <a:spcPts val="600"/>
              </a:spcAft>
            </a:pPr>
            <a:r>
              <a:rPr lang="da-DK" dirty="0"/>
              <a:t>RØDE KORS / Introduktionskursus for nye kasserere / 2025</a:t>
            </a:r>
          </a:p>
        </p:txBody>
      </p:sp>
      <p:graphicFrame>
        <p:nvGraphicFramePr>
          <p:cNvPr id="12" name="Tabel 11">
            <a:extLst>
              <a:ext uri="{FF2B5EF4-FFF2-40B4-BE49-F238E27FC236}">
                <a16:creationId xmlns:a16="http://schemas.microsoft.com/office/drawing/2014/main" id="{F381ACEC-A359-ECF5-1EC3-2BA9695320FC}"/>
              </a:ext>
            </a:extLst>
          </p:cNvPr>
          <p:cNvGraphicFramePr>
            <a:graphicFrameLocks noGrp="1"/>
          </p:cNvGraphicFramePr>
          <p:nvPr>
            <p:extLst>
              <p:ext uri="{D42A27DB-BD31-4B8C-83A1-F6EECF244321}">
                <p14:modId xmlns:p14="http://schemas.microsoft.com/office/powerpoint/2010/main" val="4252125555"/>
              </p:ext>
            </p:extLst>
          </p:nvPr>
        </p:nvGraphicFramePr>
        <p:xfrm>
          <a:off x="3194050" y="81593"/>
          <a:ext cx="5803900" cy="3257550"/>
        </p:xfrm>
        <a:graphic>
          <a:graphicData uri="http://schemas.openxmlformats.org/drawingml/2006/table">
            <a:tbl>
              <a:tblPr firstRow="1" bandRow="1">
                <a:tableStyleId>{6E25E649-3F16-4E02-A733-19D2CDBF48F0}</a:tableStyleId>
              </a:tblPr>
              <a:tblGrid>
                <a:gridCol w="3124200">
                  <a:extLst>
                    <a:ext uri="{9D8B030D-6E8A-4147-A177-3AD203B41FA5}">
                      <a16:colId xmlns:a16="http://schemas.microsoft.com/office/drawing/2014/main" val="3872721403"/>
                    </a:ext>
                  </a:extLst>
                </a:gridCol>
                <a:gridCol w="2679700">
                  <a:extLst>
                    <a:ext uri="{9D8B030D-6E8A-4147-A177-3AD203B41FA5}">
                      <a16:colId xmlns:a16="http://schemas.microsoft.com/office/drawing/2014/main" val="4173554215"/>
                    </a:ext>
                  </a:extLst>
                </a:gridCol>
              </a:tblGrid>
              <a:tr h="304800">
                <a:tc gridSpan="2">
                  <a:txBody>
                    <a:bodyPr/>
                    <a:lstStyle/>
                    <a:p>
                      <a:pPr algn="ctr" rtl="0" fontAlgn="ctr"/>
                      <a:r>
                        <a:rPr lang="da-DK" sz="1800" u="none" strike="noStrike">
                          <a:effectLst/>
                        </a:rPr>
                        <a:t>DRIFT / RESULTATOPGØRELSE</a:t>
                      </a:r>
                      <a:endParaRPr lang="da-DK" sz="1800" b="1" i="0" u="none" strike="noStrike">
                        <a:solidFill>
                          <a:srgbClr val="000000"/>
                        </a:solidFill>
                        <a:effectLst/>
                        <a:latin typeface="Calibri" panose="020F0502020204030204" pitchFamily="34" charset="0"/>
                      </a:endParaRPr>
                    </a:p>
                  </a:txBody>
                  <a:tcPr marL="6350" marR="6350" marT="6350" marB="0" anchor="ctr"/>
                </a:tc>
                <a:tc hMerge="1">
                  <a:txBody>
                    <a:bodyPr/>
                    <a:lstStyle/>
                    <a:p>
                      <a:endParaRPr lang="da-DK"/>
                    </a:p>
                  </a:txBody>
                  <a:tcPr/>
                </a:tc>
                <a:extLst>
                  <a:ext uri="{0D108BD9-81ED-4DB2-BD59-A6C34878D82A}">
                    <a16:rowId xmlns:a16="http://schemas.microsoft.com/office/drawing/2014/main" val="2289659515"/>
                  </a:ext>
                </a:extLst>
              </a:tr>
              <a:tr h="311150">
                <a:tc>
                  <a:txBody>
                    <a:bodyPr/>
                    <a:lstStyle/>
                    <a:p>
                      <a:pPr algn="ctr" rtl="0" fontAlgn="ctr"/>
                      <a:r>
                        <a:rPr lang="da-DK" sz="1800" u="none" strike="noStrike">
                          <a:effectLst/>
                        </a:rPr>
                        <a:t>DEBET (+)</a:t>
                      </a:r>
                      <a:endParaRPr lang="da-DK" sz="1800" b="0" i="0" u="none" strike="noStrike">
                        <a:solidFill>
                          <a:srgbClr val="000000"/>
                        </a:solidFill>
                        <a:effectLst/>
                        <a:latin typeface="Calibri" panose="020F0502020204030204" pitchFamily="34" charset="0"/>
                      </a:endParaRPr>
                    </a:p>
                  </a:txBody>
                  <a:tcPr marL="6350" marR="6350" marT="6350" marB="0" anchor="ctr"/>
                </a:tc>
                <a:tc>
                  <a:txBody>
                    <a:bodyPr/>
                    <a:lstStyle/>
                    <a:p>
                      <a:pPr algn="ctr" rtl="0" fontAlgn="ctr"/>
                      <a:r>
                        <a:rPr lang="da-DK" sz="1800" u="none" strike="noStrike">
                          <a:effectLst/>
                        </a:rPr>
                        <a:t>KREDIT (-)</a:t>
                      </a:r>
                      <a:endParaRPr lang="da-DK" sz="1800" b="0"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1323767827"/>
                  </a:ext>
                </a:extLst>
              </a:tr>
              <a:tr h="304800">
                <a:tc>
                  <a:txBody>
                    <a:bodyPr/>
                    <a:lstStyle/>
                    <a:p>
                      <a:pPr algn="ctr" rtl="0" fontAlgn="ctr"/>
                      <a:r>
                        <a:rPr lang="da-DK" sz="1800" u="none" strike="noStrike">
                          <a:effectLst/>
                        </a:rPr>
                        <a:t>Udgifter</a:t>
                      </a:r>
                      <a:endParaRPr lang="da-DK" sz="1800" b="0" i="0" u="none" strike="noStrike">
                        <a:solidFill>
                          <a:srgbClr val="000000"/>
                        </a:solidFill>
                        <a:effectLst/>
                        <a:latin typeface="Calibri" panose="020F0502020204030204" pitchFamily="34" charset="0"/>
                      </a:endParaRPr>
                    </a:p>
                  </a:txBody>
                  <a:tcPr marL="6350" marR="6350" marT="6350" marB="0" anchor="ctr"/>
                </a:tc>
                <a:tc>
                  <a:txBody>
                    <a:bodyPr/>
                    <a:lstStyle/>
                    <a:p>
                      <a:pPr algn="ctr" rtl="0" fontAlgn="ctr"/>
                      <a:r>
                        <a:rPr lang="da-DK" sz="1800" u="none" strike="noStrike">
                          <a:effectLst/>
                        </a:rPr>
                        <a:t>Indtægter</a:t>
                      </a:r>
                      <a:endParaRPr lang="da-DK" sz="1800" b="0"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1688914955"/>
                  </a:ext>
                </a:extLst>
              </a:tr>
              <a:tr h="298450">
                <a:tc>
                  <a:txBody>
                    <a:bodyPr/>
                    <a:lstStyle/>
                    <a:p>
                      <a:pPr algn="l" rtl="0" fontAlgn="ctr"/>
                      <a:r>
                        <a:rPr lang="da-DK" sz="1800" u="none" strike="noStrike">
                          <a:effectLst/>
                        </a:rPr>
                        <a:t>Kontonumre:</a:t>
                      </a:r>
                      <a:endParaRPr lang="da-DK" sz="1800" b="0" i="0" u="none" strike="noStrike">
                        <a:solidFill>
                          <a:srgbClr val="000000"/>
                        </a:solidFill>
                        <a:effectLst/>
                        <a:latin typeface="Calibri" panose="020F0502020204030204" pitchFamily="34" charset="0"/>
                      </a:endParaRPr>
                    </a:p>
                  </a:txBody>
                  <a:tcPr marL="6350" marR="6350" marT="6350" marB="0" anchor="ctr"/>
                </a:tc>
                <a:tc>
                  <a:txBody>
                    <a:bodyPr/>
                    <a:lstStyle/>
                    <a:p>
                      <a:pPr algn="l" rtl="0" fontAlgn="ctr"/>
                      <a:r>
                        <a:rPr lang="da-DK" sz="1800" u="none" strike="noStrike">
                          <a:effectLst/>
                        </a:rPr>
                        <a:t>Kontonumre:</a:t>
                      </a:r>
                      <a:endParaRPr lang="da-DK" sz="1800" b="0"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1962266290"/>
                  </a:ext>
                </a:extLst>
              </a:tr>
              <a:tr h="298450">
                <a:tc>
                  <a:txBody>
                    <a:bodyPr/>
                    <a:lstStyle/>
                    <a:p>
                      <a:pPr algn="l" rtl="0" fontAlgn="ctr"/>
                      <a:r>
                        <a:rPr lang="da-DK" sz="1800" u="none" strike="noStrike">
                          <a:effectLst/>
                        </a:rPr>
                        <a:t>2000 – 7998</a:t>
                      </a:r>
                      <a:endParaRPr lang="da-DK" sz="1800" b="0" i="0" u="none" strike="noStrike">
                        <a:solidFill>
                          <a:srgbClr val="000000"/>
                        </a:solidFill>
                        <a:effectLst/>
                        <a:latin typeface="Calibri" panose="020F0502020204030204" pitchFamily="34" charset="0"/>
                      </a:endParaRPr>
                    </a:p>
                  </a:txBody>
                  <a:tcPr marL="6350" marR="6350" marT="6350" marB="0" anchor="ctr"/>
                </a:tc>
                <a:tc>
                  <a:txBody>
                    <a:bodyPr/>
                    <a:lstStyle/>
                    <a:p>
                      <a:pPr algn="l" rtl="0" fontAlgn="ctr"/>
                      <a:r>
                        <a:rPr lang="da-DK" sz="1800" u="none" strike="noStrike">
                          <a:effectLst/>
                        </a:rPr>
                        <a:t>0999 – 1999</a:t>
                      </a:r>
                      <a:endParaRPr lang="da-DK" sz="1800" b="0"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3162884721"/>
                  </a:ext>
                </a:extLst>
              </a:tr>
              <a:tr h="177800">
                <a:tc>
                  <a:txBody>
                    <a:bodyPr/>
                    <a:lstStyle/>
                    <a:p>
                      <a:pPr algn="l" rtl="0" fontAlgn="ctr"/>
                      <a:r>
                        <a:rPr lang="da-DK" sz="1050" u="none" strike="noStrike">
                          <a:effectLst/>
                        </a:rPr>
                        <a:t>2010 - 2130: Udgifter aktivitet</a:t>
                      </a:r>
                      <a:endParaRPr lang="da-DK" sz="1050" b="0" i="0" u="none" strike="noStrike">
                        <a:solidFill>
                          <a:srgbClr val="000000"/>
                        </a:solidFill>
                        <a:effectLst/>
                        <a:latin typeface="Calibri" panose="020F0502020204030204" pitchFamily="34" charset="0"/>
                      </a:endParaRPr>
                    </a:p>
                  </a:txBody>
                  <a:tcPr marL="6350" marR="6350" marT="6350" marB="0" anchor="ctr"/>
                </a:tc>
                <a:tc>
                  <a:txBody>
                    <a:bodyPr/>
                    <a:lstStyle/>
                    <a:p>
                      <a:pPr algn="l" rtl="0" fontAlgn="ctr"/>
                      <a:r>
                        <a:rPr lang="da-DK" sz="1050" u="none" strike="noStrike">
                          <a:effectLst/>
                        </a:rPr>
                        <a:t>Salg</a:t>
                      </a:r>
                      <a:endParaRPr lang="da-DK" sz="1050" b="0"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2905982742"/>
                  </a:ext>
                </a:extLst>
              </a:tr>
              <a:tr h="177800">
                <a:tc>
                  <a:txBody>
                    <a:bodyPr/>
                    <a:lstStyle/>
                    <a:p>
                      <a:pPr algn="l" rtl="0" fontAlgn="ctr"/>
                      <a:r>
                        <a:rPr lang="da-DK" sz="1050" u="none" strike="noStrike">
                          <a:effectLst/>
                        </a:rPr>
                        <a:t>2910 - 2950: Køretøjer</a:t>
                      </a:r>
                      <a:endParaRPr lang="da-DK" sz="105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t"/>
                      <a:r>
                        <a:rPr lang="da-DK" sz="900" u="none" strike="noStrike">
                          <a:effectLst/>
                        </a:rPr>
                        <a:t>Medlemskontingent</a:t>
                      </a:r>
                      <a:endParaRPr lang="da-DK" sz="900" b="0" i="0" u="none" strike="noStrike">
                        <a:solidFill>
                          <a:srgbClr val="000000"/>
                        </a:solidFill>
                        <a:effectLst/>
                        <a:latin typeface="Verdana" panose="020B0604030504040204" pitchFamily="34" charset="0"/>
                      </a:endParaRPr>
                    </a:p>
                  </a:txBody>
                  <a:tcPr marL="6350" marR="6350" marT="6350" marB="0"/>
                </a:tc>
                <a:extLst>
                  <a:ext uri="{0D108BD9-81ED-4DB2-BD59-A6C34878D82A}">
                    <a16:rowId xmlns:a16="http://schemas.microsoft.com/office/drawing/2014/main" val="2819655085"/>
                  </a:ext>
                </a:extLst>
              </a:tr>
              <a:tr h="177800">
                <a:tc>
                  <a:txBody>
                    <a:bodyPr/>
                    <a:lstStyle/>
                    <a:p>
                      <a:pPr algn="l" rtl="0" fontAlgn="ctr"/>
                      <a:r>
                        <a:rPr lang="da-DK" sz="1050" u="none" strike="noStrike">
                          <a:effectLst/>
                        </a:rPr>
                        <a:t>3010 - 3070: Frivilligudgifter</a:t>
                      </a:r>
                      <a:endParaRPr lang="da-DK" sz="105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t"/>
                      <a:r>
                        <a:rPr lang="da-DK" sz="900" u="none" strike="noStrike">
                          <a:effectLst/>
                        </a:rPr>
                        <a:t>Tilskud</a:t>
                      </a:r>
                      <a:endParaRPr lang="da-DK" sz="900" b="0" i="0" u="none" strike="noStrike">
                        <a:solidFill>
                          <a:srgbClr val="000000"/>
                        </a:solidFill>
                        <a:effectLst/>
                        <a:latin typeface="Verdana" panose="020B0604030504040204" pitchFamily="34" charset="0"/>
                      </a:endParaRPr>
                    </a:p>
                  </a:txBody>
                  <a:tcPr marL="6350" marR="6350" marT="6350" marB="0"/>
                </a:tc>
                <a:extLst>
                  <a:ext uri="{0D108BD9-81ED-4DB2-BD59-A6C34878D82A}">
                    <a16:rowId xmlns:a16="http://schemas.microsoft.com/office/drawing/2014/main" val="2319327668"/>
                  </a:ext>
                </a:extLst>
              </a:tr>
              <a:tr h="177800">
                <a:tc>
                  <a:txBody>
                    <a:bodyPr/>
                    <a:lstStyle/>
                    <a:p>
                      <a:pPr algn="l" rtl="0" fontAlgn="ctr"/>
                      <a:r>
                        <a:rPr lang="da-DK" sz="1050" u="none" strike="noStrike">
                          <a:effectLst/>
                        </a:rPr>
                        <a:t>3210 - 3270: Deltagerudgifter</a:t>
                      </a:r>
                      <a:endParaRPr lang="da-DK" sz="105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t"/>
                      <a:r>
                        <a:rPr lang="da-DK" sz="900" u="none" strike="noStrike">
                          <a:effectLst/>
                        </a:rPr>
                        <a:t>Donationer</a:t>
                      </a:r>
                      <a:endParaRPr lang="da-DK" sz="900" b="0" i="0" u="none" strike="noStrike">
                        <a:solidFill>
                          <a:srgbClr val="000000"/>
                        </a:solidFill>
                        <a:effectLst/>
                        <a:latin typeface="Verdana" panose="020B0604030504040204" pitchFamily="34" charset="0"/>
                      </a:endParaRPr>
                    </a:p>
                  </a:txBody>
                  <a:tcPr marL="6350" marR="6350" marT="6350" marB="0"/>
                </a:tc>
                <a:extLst>
                  <a:ext uri="{0D108BD9-81ED-4DB2-BD59-A6C34878D82A}">
                    <a16:rowId xmlns:a16="http://schemas.microsoft.com/office/drawing/2014/main" val="2011078917"/>
                  </a:ext>
                </a:extLst>
              </a:tr>
              <a:tr h="177800">
                <a:tc>
                  <a:txBody>
                    <a:bodyPr/>
                    <a:lstStyle/>
                    <a:p>
                      <a:pPr algn="l" rtl="0" fontAlgn="ctr"/>
                      <a:r>
                        <a:rPr lang="da-DK" sz="1050" u="none" strike="noStrike">
                          <a:effectLst/>
                        </a:rPr>
                        <a:t>4010 - 4150: Ejendoms- og lokaleudgifter</a:t>
                      </a:r>
                      <a:endParaRPr lang="da-DK" sz="105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t"/>
                      <a:r>
                        <a:rPr lang="da-DK" sz="900" u="none" strike="noStrike">
                          <a:effectLst/>
                        </a:rPr>
                        <a:t>m.fl.</a:t>
                      </a:r>
                      <a:endParaRPr lang="da-DK" sz="900" b="0" i="0" u="none" strike="noStrike">
                        <a:solidFill>
                          <a:srgbClr val="000000"/>
                        </a:solidFill>
                        <a:effectLst/>
                        <a:latin typeface="Verdana" panose="020B0604030504040204" pitchFamily="34" charset="0"/>
                      </a:endParaRPr>
                    </a:p>
                  </a:txBody>
                  <a:tcPr marL="6350" marR="6350" marT="6350" marB="0"/>
                </a:tc>
                <a:extLst>
                  <a:ext uri="{0D108BD9-81ED-4DB2-BD59-A6C34878D82A}">
                    <a16:rowId xmlns:a16="http://schemas.microsoft.com/office/drawing/2014/main" val="1930968944"/>
                  </a:ext>
                </a:extLst>
              </a:tr>
              <a:tr h="177800">
                <a:tc>
                  <a:txBody>
                    <a:bodyPr/>
                    <a:lstStyle/>
                    <a:p>
                      <a:pPr algn="l" rtl="0" fontAlgn="ctr"/>
                      <a:r>
                        <a:rPr lang="da-DK" sz="1050" u="none" strike="noStrike">
                          <a:effectLst/>
                        </a:rPr>
                        <a:t>5010 - 5170: Administrative udgifter</a:t>
                      </a:r>
                      <a:endParaRPr lang="da-DK" sz="105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t"/>
                      <a:r>
                        <a:rPr lang="da-DK" sz="900" u="none" strike="noStrike">
                          <a:effectLst/>
                        </a:rPr>
                        <a:t> </a:t>
                      </a:r>
                      <a:endParaRPr lang="da-DK" sz="900" b="0" i="0" u="none" strike="noStrike">
                        <a:solidFill>
                          <a:srgbClr val="000000"/>
                        </a:solidFill>
                        <a:effectLst/>
                        <a:latin typeface="Verdana" panose="020B0604030504040204" pitchFamily="34" charset="0"/>
                      </a:endParaRPr>
                    </a:p>
                  </a:txBody>
                  <a:tcPr marL="6350" marR="6350" marT="6350" marB="0"/>
                </a:tc>
                <a:extLst>
                  <a:ext uri="{0D108BD9-81ED-4DB2-BD59-A6C34878D82A}">
                    <a16:rowId xmlns:a16="http://schemas.microsoft.com/office/drawing/2014/main" val="1473557269"/>
                  </a:ext>
                </a:extLst>
              </a:tr>
              <a:tr h="177800">
                <a:tc>
                  <a:txBody>
                    <a:bodyPr/>
                    <a:lstStyle/>
                    <a:p>
                      <a:pPr algn="l" rtl="0" fontAlgn="ctr"/>
                      <a:r>
                        <a:rPr lang="da-DK" sz="1050" u="none" strike="noStrike">
                          <a:effectLst/>
                        </a:rPr>
                        <a:t>6010 - 6090: Renter og gebyrer</a:t>
                      </a:r>
                      <a:endParaRPr lang="da-DK" sz="105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t"/>
                      <a:r>
                        <a:rPr lang="da-DK" sz="900" u="none" strike="noStrike">
                          <a:effectLst/>
                        </a:rPr>
                        <a:t> </a:t>
                      </a:r>
                      <a:endParaRPr lang="da-DK" sz="900" b="0" i="0" u="none" strike="noStrike">
                        <a:solidFill>
                          <a:srgbClr val="000000"/>
                        </a:solidFill>
                        <a:effectLst/>
                        <a:latin typeface="Verdana" panose="020B0604030504040204" pitchFamily="34" charset="0"/>
                      </a:endParaRPr>
                    </a:p>
                  </a:txBody>
                  <a:tcPr marL="6350" marR="6350" marT="6350" marB="0"/>
                </a:tc>
                <a:extLst>
                  <a:ext uri="{0D108BD9-81ED-4DB2-BD59-A6C34878D82A}">
                    <a16:rowId xmlns:a16="http://schemas.microsoft.com/office/drawing/2014/main" val="3867114932"/>
                  </a:ext>
                </a:extLst>
              </a:tr>
              <a:tr h="184150">
                <a:tc>
                  <a:txBody>
                    <a:bodyPr/>
                    <a:lstStyle/>
                    <a:p>
                      <a:pPr algn="l" rtl="0" fontAlgn="ctr"/>
                      <a:r>
                        <a:rPr lang="da-DK" sz="1050" u="none" strike="noStrike">
                          <a:effectLst/>
                        </a:rPr>
                        <a:t>7010 - 7060: Tilskud og bidrag m.m.</a:t>
                      </a:r>
                      <a:endParaRPr lang="da-DK" sz="1050" b="0" i="0" u="none" strike="noStrike">
                        <a:solidFill>
                          <a:srgbClr val="000000"/>
                        </a:solidFill>
                        <a:effectLst/>
                        <a:latin typeface="Calibri" panose="020F0502020204030204" pitchFamily="34" charset="0"/>
                      </a:endParaRPr>
                    </a:p>
                  </a:txBody>
                  <a:tcPr marL="6350" marR="6350" marT="6350" marB="0" anchor="ctr"/>
                </a:tc>
                <a:tc>
                  <a:txBody>
                    <a:bodyPr/>
                    <a:lstStyle/>
                    <a:p>
                      <a:pPr algn="l" fontAlgn="t"/>
                      <a:r>
                        <a:rPr lang="da-DK" sz="900" u="none" strike="noStrike">
                          <a:effectLst/>
                        </a:rPr>
                        <a:t> </a:t>
                      </a:r>
                      <a:endParaRPr lang="da-DK" sz="900" b="0" i="0" u="none" strike="noStrike">
                        <a:solidFill>
                          <a:srgbClr val="000000"/>
                        </a:solidFill>
                        <a:effectLst/>
                        <a:latin typeface="Verdana" panose="020B0604030504040204" pitchFamily="34" charset="0"/>
                      </a:endParaRPr>
                    </a:p>
                  </a:txBody>
                  <a:tcPr marL="6350" marR="6350" marT="6350" marB="0"/>
                </a:tc>
                <a:extLst>
                  <a:ext uri="{0D108BD9-81ED-4DB2-BD59-A6C34878D82A}">
                    <a16:rowId xmlns:a16="http://schemas.microsoft.com/office/drawing/2014/main" val="2596560379"/>
                  </a:ext>
                </a:extLst>
              </a:tr>
              <a:tr h="304800">
                <a:tc gridSpan="2">
                  <a:txBody>
                    <a:bodyPr/>
                    <a:lstStyle/>
                    <a:p>
                      <a:pPr algn="ctr" rtl="0" fontAlgn="ctr"/>
                      <a:r>
                        <a:rPr lang="da-DK" sz="2000" u="none" strike="noStrike" dirty="0">
                          <a:effectLst/>
                        </a:rPr>
                        <a:t>7999 Resultat i alt</a:t>
                      </a:r>
                      <a:endParaRPr lang="da-DK" sz="2000" b="0" i="0" u="none" strike="noStrike" dirty="0">
                        <a:solidFill>
                          <a:srgbClr val="000000"/>
                        </a:solidFill>
                        <a:effectLst/>
                        <a:latin typeface="Calibri" panose="020F0502020204030204" pitchFamily="34" charset="0"/>
                      </a:endParaRPr>
                    </a:p>
                  </a:txBody>
                  <a:tcPr marL="6350" marR="6350" marT="6350" marB="0" anchor="ctr"/>
                </a:tc>
                <a:tc hMerge="1">
                  <a:txBody>
                    <a:bodyPr/>
                    <a:lstStyle/>
                    <a:p>
                      <a:endParaRPr lang="da-DK"/>
                    </a:p>
                  </a:txBody>
                  <a:tcPr/>
                </a:tc>
                <a:extLst>
                  <a:ext uri="{0D108BD9-81ED-4DB2-BD59-A6C34878D82A}">
                    <a16:rowId xmlns:a16="http://schemas.microsoft.com/office/drawing/2014/main" val="3153963560"/>
                  </a:ext>
                </a:extLst>
              </a:tr>
            </a:tbl>
          </a:graphicData>
        </a:graphic>
      </p:graphicFrame>
      <p:graphicFrame>
        <p:nvGraphicFramePr>
          <p:cNvPr id="13" name="Tabel 12">
            <a:extLst>
              <a:ext uri="{FF2B5EF4-FFF2-40B4-BE49-F238E27FC236}">
                <a16:creationId xmlns:a16="http://schemas.microsoft.com/office/drawing/2014/main" id="{0B8F8400-281D-A127-86EF-7484B42908C5}"/>
              </a:ext>
            </a:extLst>
          </p:cNvPr>
          <p:cNvGraphicFramePr>
            <a:graphicFrameLocks noGrp="1"/>
          </p:cNvGraphicFramePr>
          <p:nvPr>
            <p:extLst>
              <p:ext uri="{D42A27DB-BD31-4B8C-83A1-F6EECF244321}">
                <p14:modId xmlns:p14="http://schemas.microsoft.com/office/powerpoint/2010/main" val="3640117779"/>
              </p:ext>
            </p:extLst>
          </p:nvPr>
        </p:nvGraphicFramePr>
        <p:xfrm>
          <a:off x="3194050" y="3367641"/>
          <a:ext cx="5803900" cy="2921000"/>
        </p:xfrm>
        <a:graphic>
          <a:graphicData uri="http://schemas.openxmlformats.org/drawingml/2006/table">
            <a:tbl>
              <a:tblPr firstRow="1" bandRow="1">
                <a:tableStyleId>{6E25E649-3F16-4E02-A733-19D2CDBF48F0}</a:tableStyleId>
              </a:tblPr>
              <a:tblGrid>
                <a:gridCol w="3124200">
                  <a:extLst>
                    <a:ext uri="{9D8B030D-6E8A-4147-A177-3AD203B41FA5}">
                      <a16:colId xmlns:a16="http://schemas.microsoft.com/office/drawing/2014/main" val="2260287330"/>
                    </a:ext>
                  </a:extLst>
                </a:gridCol>
                <a:gridCol w="2679700">
                  <a:extLst>
                    <a:ext uri="{9D8B030D-6E8A-4147-A177-3AD203B41FA5}">
                      <a16:colId xmlns:a16="http://schemas.microsoft.com/office/drawing/2014/main" val="76429916"/>
                    </a:ext>
                  </a:extLst>
                </a:gridCol>
              </a:tblGrid>
              <a:tr h="304800">
                <a:tc gridSpan="2">
                  <a:txBody>
                    <a:bodyPr/>
                    <a:lstStyle/>
                    <a:p>
                      <a:pPr algn="ctr" rtl="0" fontAlgn="ctr"/>
                      <a:r>
                        <a:rPr lang="da-DK" sz="1800" u="none" strike="noStrike" dirty="0">
                          <a:effectLst/>
                        </a:rPr>
                        <a:t>Balance</a:t>
                      </a:r>
                      <a:endParaRPr lang="da-DK" sz="1800" b="1" i="0" u="none" strike="noStrike" dirty="0">
                        <a:solidFill>
                          <a:srgbClr val="000000"/>
                        </a:solidFill>
                        <a:effectLst/>
                        <a:latin typeface="Calibri" panose="020F0502020204030204" pitchFamily="34" charset="0"/>
                      </a:endParaRPr>
                    </a:p>
                  </a:txBody>
                  <a:tcPr marL="6350" marR="6350" marT="6350" marB="0" anchor="ctr"/>
                </a:tc>
                <a:tc hMerge="1">
                  <a:txBody>
                    <a:bodyPr/>
                    <a:lstStyle/>
                    <a:p>
                      <a:endParaRPr lang="da-DK"/>
                    </a:p>
                  </a:txBody>
                  <a:tcPr/>
                </a:tc>
                <a:extLst>
                  <a:ext uri="{0D108BD9-81ED-4DB2-BD59-A6C34878D82A}">
                    <a16:rowId xmlns:a16="http://schemas.microsoft.com/office/drawing/2014/main" val="4072890368"/>
                  </a:ext>
                </a:extLst>
              </a:tr>
              <a:tr h="304800">
                <a:tc>
                  <a:txBody>
                    <a:bodyPr/>
                    <a:lstStyle/>
                    <a:p>
                      <a:pPr algn="ctr" rtl="0" fontAlgn="ctr"/>
                      <a:r>
                        <a:rPr lang="da-DK" sz="1800" u="none" strike="noStrike">
                          <a:effectLst/>
                        </a:rPr>
                        <a:t>DEBET (+)</a:t>
                      </a:r>
                      <a:endParaRPr lang="da-DK" sz="1800" b="0" i="0" u="none" strike="noStrike">
                        <a:solidFill>
                          <a:srgbClr val="000000"/>
                        </a:solidFill>
                        <a:effectLst/>
                        <a:latin typeface="Calibri" panose="020F0502020204030204" pitchFamily="34" charset="0"/>
                      </a:endParaRPr>
                    </a:p>
                  </a:txBody>
                  <a:tcPr marL="6350" marR="6350" marT="6350" marB="0" anchor="ctr"/>
                </a:tc>
                <a:tc>
                  <a:txBody>
                    <a:bodyPr/>
                    <a:lstStyle/>
                    <a:p>
                      <a:pPr algn="ctr" rtl="0" fontAlgn="ctr"/>
                      <a:r>
                        <a:rPr lang="da-DK" sz="1800" u="none" strike="noStrike" dirty="0">
                          <a:effectLst/>
                        </a:rPr>
                        <a:t>KREDIT (-)</a:t>
                      </a:r>
                      <a:endParaRPr lang="da-DK" sz="1800" b="0" i="0" u="none" strike="noStrike" dirty="0">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1688425314"/>
                  </a:ext>
                </a:extLst>
              </a:tr>
              <a:tr h="304800">
                <a:tc>
                  <a:txBody>
                    <a:bodyPr/>
                    <a:lstStyle/>
                    <a:p>
                      <a:pPr algn="ctr" rtl="0" fontAlgn="ctr"/>
                      <a:r>
                        <a:rPr lang="da-DK" sz="1800" u="none" strike="noStrike">
                          <a:effectLst/>
                        </a:rPr>
                        <a:t>Aktiver</a:t>
                      </a:r>
                      <a:endParaRPr lang="da-DK" sz="1800" b="0" i="0" u="none" strike="noStrike">
                        <a:solidFill>
                          <a:srgbClr val="000000"/>
                        </a:solidFill>
                        <a:effectLst/>
                        <a:latin typeface="Calibri" panose="020F0502020204030204" pitchFamily="34" charset="0"/>
                      </a:endParaRPr>
                    </a:p>
                  </a:txBody>
                  <a:tcPr marL="6350" marR="6350" marT="6350" marB="0" anchor="ctr"/>
                </a:tc>
                <a:tc>
                  <a:txBody>
                    <a:bodyPr/>
                    <a:lstStyle/>
                    <a:p>
                      <a:pPr algn="ctr" rtl="0" fontAlgn="ctr"/>
                      <a:r>
                        <a:rPr lang="da-DK" sz="1800" u="none" strike="noStrike" dirty="0">
                          <a:effectLst/>
                        </a:rPr>
                        <a:t>Passiver</a:t>
                      </a:r>
                      <a:endParaRPr lang="da-DK" sz="1800" b="0" i="0" u="none" strike="noStrike" dirty="0">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2921046781"/>
                  </a:ext>
                </a:extLst>
              </a:tr>
              <a:tr h="298450">
                <a:tc>
                  <a:txBody>
                    <a:bodyPr/>
                    <a:lstStyle/>
                    <a:p>
                      <a:pPr algn="l" rtl="0" fontAlgn="ctr"/>
                      <a:r>
                        <a:rPr lang="da-DK" sz="1800" u="none" strike="noStrike">
                          <a:effectLst/>
                        </a:rPr>
                        <a:t>Kontonumre:</a:t>
                      </a:r>
                      <a:endParaRPr lang="da-DK" sz="1800" b="0" i="0" u="none" strike="noStrike">
                        <a:solidFill>
                          <a:srgbClr val="000000"/>
                        </a:solidFill>
                        <a:effectLst/>
                        <a:latin typeface="Calibri" panose="020F0502020204030204" pitchFamily="34" charset="0"/>
                      </a:endParaRPr>
                    </a:p>
                  </a:txBody>
                  <a:tcPr marL="6350" marR="6350" marT="6350" marB="0" anchor="ctr"/>
                </a:tc>
                <a:tc>
                  <a:txBody>
                    <a:bodyPr/>
                    <a:lstStyle/>
                    <a:p>
                      <a:pPr algn="l" rtl="0" fontAlgn="ctr"/>
                      <a:r>
                        <a:rPr lang="da-DK" sz="1800" u="none" strike="noStrike">
                          <a:effectLst/>
                        </a:rPr>
                        <a:t>Kontonumre:</a:t>
                      </a:r>
                      <a:endParaRPr lang="da-DK" sz="1800" b="0"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1886184756"/>
                  </a:ext>
                </a:extLst>
              </a:tr>
              <a:tr h="298450">
                <a:tc>
                  <a:txBody>
                    <a:bodyPr/>
                    <a:lstStyle/>
                    <a:p>
                      <a:pPr algn="l" rtl="0" fontAlgn="ctr"/>
                      <a:r>
                        <a:rPr lang="da-DK" sz="1800" u="none" strike="noStrike">
                          <a:effectLst/>
                        </a:rPr>
                        <a:t>8000 – 8998</a:t>
                      </a:r>
                      <a:endParaRPr lang="da-DK" sz="1800" b="0" i="0" u="none" strike="noStrike">
                        <a:solidFill>
                          <a:srgbClr val="000000"/>
                        </a:solidFill>
                        <a:effectLst/>
                        <a:latin typeface="Calibri" panose="020F0502020204030204" pitchFamily="34" charset="0"/>
                      </a:endParaRPr>
                    </a:p>
                  </a:txBody>
                  <a:tcPr marL="6350" marR="6350" marT="6350" marB="0" anchor="ctr"/>
                </a:tc>
                <a:tc>
                  <a:txBody>
                    <a:bodyPr/>
                    <a:lstStyle/>
                    <a:p>
                      <a:pPr algn="l" rtl="0" fontAlgn="ctr"/>
                      <a:r>
                        <a:rPr lang="da-DK" sz="1800" u="none" strike="noStrike">
                          <a:effectLst/>
                        </a:rPr>
                        <a:t>9000 – 9998</a:t>
                      </a:r>
                      <a:endParaRPr lang="da-DK" sz="1800" b="0"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1501601244"/>
                  </a:ext>
                </a:extLst>
              </a:tr>
              <a:tr h="177800">
                <a:tc>
                  <a:txBody>
                    <a:bodyPr/>
                    <a:lstStyle/>
                    <a:p>
                      <a:pPr algn="l" rtl="0" fontAlgn="ctr"/>
                      <a:r>
                        <a:rPr lang="da-DK" sz="1050" u="none" strike="noStrike">
                          <a:effectLst/>
                        </a:rPr>
                        <a:t>Deposita</a:t>
                      </a:r>
                      <a:endParaRPr lang="da-DK" sz="1050" b="0" i="0" u="none" strike="noStrike">
                        <a:solidFill>
                          <a:srgbClr val="000000"/>
                        </a:solidFill>
                        <a:effectLst/>
                        <a:latin typeface="Calibri" panose="020F0502020204030204" pitchFamily="34" charset="0"/>
                      </a:endParaRPr>
                    </a:p>
                  </a:txBody>
                  <a:tcPr marL="6350" marR="6350" marT="6350" marB="0" anchor="ctr"/>
                </a:tc>
                <a:tc>
                  <a:txBody>
                    <a:bodyPr/>
                    <a:lstStyle/>
                    <a:p>
                      <a:pPr algn="l" rtl="0" fontAlgn="ctr"/>
                      <a:r>
                        <a:rPr lang="da-DK" sz="1050" u="none" strike="noStrike">
                          <a:effectLst/>
                        </a:rPr>
                        <a:t>Egenkapital</a:t>
                      </a:r>
                      <a:endParaRPr lang="da-DK" sz="1050" b="0"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844132561"/>
                  </a:ext>
                </a:extLst>
              </a:tr>
              <a:tr h="177800">
                <a:tc>
                  <a:txBody>
                    <a:bodyPr/>
                    <a:lstStyle/>
                    <a:p>
                      <a:pPr algn="l" rtl="0" fontAlgn="ctr"/>
                      <a:r>
                        <a:rPr lang="da-DK" sz="1050" u="none" strike="noStrike">
                          <a:effectLst/>
                        </a:rPr>
                        <a:t>Tilgodehavender</a:t>
                      </a:r>
                      <a:endParaRPr lang="da-DK" sz="1050" b="0" i="0" u="none" strike="noStrike">
                        <a:solidFill>
                          <a:srgbClr val="000000"/>
                        </a:solidFill>
                        <a:effectLst/>
                        <a:latin typeface="Calibri" panose="020F0502020204030204" pitchFamily="34" charset="0"/>
                      </a:endParaRPr>
                    </a:p>
                  </a:txBody>
                  <a:tcPr marL="6350" marR="6350" marT="6350" marB="0" anchor="ctr"/>
                </a:tc>
                <a:tc>
                  <a:txBody>
                    <a:bodyPr/>
                    <a:lstStyle/>
                    <a:p>
                      <a:pPr algn="l" rtl="0" fontAlgn="ctr"/>
                      <a:r>
                        <a:rPr lang="da-DK" sz="1050" u="none" strike="noStrike">
                          <a:effectLst/>
                        </a:rPr>
                        <a:t>Hensættelser</a:t>
                      </a:r>
                      <a:endParaRPr lang="da-DK" sz="1050" b="0"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3274551552"/>
                  </a:ext>
                </a:extLst>
              </a:tr>
              <a:tr h="177800">
                <a:tc>
                  <a:txBody>
                    <a:bodyPr/>
                    <a:lstStyle/>
                    <a:p>
                      <a:pPr algn="l" rtl="0" fontAlgn="ctr"/>
                      <a:r>
                        <a:rPr lang="da-DK" sz="1050" u="none" strike="noStrike">
                          <a:effectLst/>
                        </a:rPr>
                        <a:t>Kasse</a:t>
                      </a:r>
                      <a:endParaRPr lang="da-DK" sz="1050" b="0" i="0" u="none" strike="noStrike">
                        <a:solidFill>
                          <a:srgbClr val="000000"/>
                        </a:solidFill>
                        <a:effectLst/>
                        <a:latin typeface="Calibri" panose="020F0502020204030204" pitchFamily="34" charset="0"/>
                      </a:endParaRPr>
                    </a:p>
                  </a:txBody>
                  <a:tcPr marL="6350" marR="6350" marT="6350" marB="0" anchor="ctr"/>
                </a:tc>
                <a:tc>
                  <a:txBody>
                    <a:bodyPr/>
                    <a:lstStyle/>
                    <a:p>
                      <a:pPr algn="l" rtl="0" fontAlgn="ctr"/>
                      <a:r>
                        <a:rPr lang="da-DK" sz="1050" u="none" strike="noStrike">
                          <a:effectLst/>
                        </a:rPr>
                        <a:t>Gæld</a:t>
                      </a:r>
                      <a:endParaRPr lang="da-DK" sz="1050" b="0"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3491419916"/>
                  </a:ext>
                </a:extLst>
              </a:tr>
              <a:tr h="177800">
                <a:tc>
                  <a:txBody>
                    <a:bodyPr/>
                    <a:lstStyle/>
                    <a:p>
                      <a:pPr algn="l" rtl="0" fontAlgn="ctr"/>
                      <a:r>
                        <a:rPr lang="da-DK" sz="1050" u="none" strike="noStrike">
                          <a:effectLst/>
                        </a:rPr>
                        <a:t>Bank</a:t>
                      </a:r>
                      <a:endParaRPr lang="da-DK" sz="1050" b="0" i="0" u="none" strike="noStrike">
                        <a:solidFill>
                          <a:srgbClr val="000000"/>
                        </a:solidFill>
                        <a:effectLst/>
                        <a:latin typeface="Calibri" panose="020F0502020204030204" pitchFamily="34" charset="0"/>
                      </a:endParaRPr>
                    </a:p>
                  </a:txBody>
                  <a:tcPr marL="6350" marR="6350" marT="6350" marB="0" anchor="ctr"/>
                </a:tc>
                <a:tc>
                  <a:txBody>
                    <a:bodyPr/>
                    <a:lstStyle/>
                    <a:p>
                      <a:pPr algn="l" rtl="0" fontAlgn="ctr"/>
                      <a:r>
                        <a:rPr lang="da-DK" sz="1050" u="none" strike="noStrike">
                          <a:effectLst/>
                        </a:rPr>
                        <a:t>Skyldig</a:t>
                      </a:r>
                      <a:endParaRPr lang="da-DK" sz="1050" b="0"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1465428340"/>
                  </a:ext>
                </a:extLst>
              </a:tr>
              <a:tr h="177800">
                <a:tc>
                  <a:txBody>
                    <a:bodyPr/>
                    <a:lstStyle/>
                    <a:p>
                      <a:pPr algn="l" rtl="0" fontAlgn="ctr"/>
                      <a:r>
                        <a:rPr lang="da-DK" sz="1050" u="none" strike="noStrike">
                          <a:effectLst/>
                        </a:rPr>
                        <a:t>m.fl.</a:t>
                      </a:r>
                      <a:endParaRPr lang="da-DK" sz="1050" b="0" i="0" u="none" strike="noStrike">
                        <a:solidFill>
                          <a:srgbClr val="000000"/>
                        </a:solidFill>
                        <a:effectLst/>
                        <a:latin typeface="Calibri" panose="020F0502020204030204" pitchFamily="34" charset="0"/>
                      </a:endParaRPr>
                    </a:p>
                  </a:txBody>
                  <a:tcPr marL="6350" marR="6350" marT="6350" marB="0" anchor="ctr"/>
                </a:tc>
                <a:tc>
                  <a:txBody>
                    <a:bodyPr/>
                    <a:lstStyle/>
                    <a:p>
                      <a:pPr algn="l" rtl="0" fontAlgn="ctr"/>
                      <a:r>
                        <a:rPr lang="da-DK" sz="1050" u="none" strike="noStrike">
                          <a:effectLst/>
                        </a:rPr>
                        <a:t>m.fl.</a:t>
                      </a:r>
                      <a:endParaRPr lang="da-DK" sz="1050" b="0"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4095664246"/>
                  </a:ext>
                </a:extLst>
              </a:tr>
              <a:tr h="184150">
                <a:tc>
                  <a:txBody>
                    <a:bodyPr/>
                    <a:lstStyle/>
                    <a:p>
                      <a:pPr algn="l" rtl="0" fontAlgn="ctr"/>
                      <a:r>
                        <a:rPr lang="da-DK" sz="1050" u="none" strike="noStrike">
                          <a:effectLst/>
                        </a:rPr>
                        <a:t> </a:t>
                      </a:r>
                      <a:endParaRPr lang="da-DK" sz="1050" b="0" i="0" u="none" strike="noStrike">
                        <a:solidFill>
                          <a:srgbClr val="000000"/>
                        </a:solidFill>
                        <a:effectLst/>
                        <a:latin typeface="Calibri" panose="020F0502020204030204" pitchFamily="34" charset="0"/>
                      </a:endParaRPr>
                    </a:p>
                  </a:txBody>
                  <a:tcPr marL="6350" marR="6350" marT="6350" marB="0" anchor="ctr"/>
                </a:tc>
                <a:tc>
                  <a:txBody>
                    <a:bodyPr/>
                    <a:lstStyle/>
                    <a:p>
                      <a:pPr algn="l" rtl="0" fontAlgn="ctr"/>
                      <a:r>
                        <a:rPr lang="da-DK" sz="1050" u="none" strike="noStrike">
                          <a:effectLst/>
                        </a:rPr>
                        <a:t> </a:t>
                      </a:r>
                      <a:endParaRPr lang="da-DK" sz="1050" b="0" i="0" u="none" strike="noStrike">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143328790"/>
                  </a:ext>
                </a:extLst>
              </a:tr>
              <a:tr h="336550">
                <a:tc>
                  <a:txBody>
                    <a:bodyPr/>
                    <a:lstStyle/>
                    <a:p>
                      <a:pPr algn="ctr" rtl="0" fontAlgn="ctr"/>
                      <a:r>
                        <a:rPr lang="da-DK" sz="2000" u="none" strike="noStrike" dirty="0">
                          <a:effectLst/>
                        </a:rPr>
                        <a:t>8999: Aktiver i alt</a:t>
                      </a:r>
                      <a:endParaRPr lang="da-DK" sz="2000" b="0" i="0" u="none" strike="noStrike" dirty="0">
                        <a:solidFill>
                          <a:srgbClr val="000000"/>
                        </a:solidFill>
                        <a:effectLst/>
                        <a:latin typeface="Calibri" panose="020F0502020204030204" pitchFamily="34" charset="0"/>
                      </a:endParaRPr>
                    </a:p>
                  </a:txBody>
                  <a:tcPr marL="6350" marR="6350" marT="6350" marB="0" anchor="ctr"/>
                </a:tc>
                <a:tc>
                  <a:txBody>
                    <a:bodyPr/>
                    <a:lstStyle/>
                    <a:p>
                      <a:pPr algn="ctr" rtl="0" fontAlgn="ctr"/>
                      <a:r>
                        <a:rPr lang="da-DK" sz="2000" u="none" strike="noStrike" dirty="0">
                          <a:effectLst/>
                        </a:rPr>
                        <a:t>9999: Passiver i alt</a:t>
                      </a:r>
                      <a:endParaRPr lang="da-DK" sz="2000" b="0" i="0" u="none" strike="noStrike" dirty="0">
                        <a:solidFill>
                          <a:srgbClr val="000000"/>
                        </a:solidFill>
                        <a:effectLst/>
                        <a:latin typeface="Calibri" panose="020F0502020204030204" pitchFamily="34" charset="0"/>
                      </a:endParaRPr>
                    </a:p>
                  </a:txBody>
                  <a:tcPr marL="6350" marR="6350" marT="6350" marB="0" anchor="ctr"/>
                </a:tc>
                <a:extLst>
                  <a:ext uri="{0D108BD9-81ED-4DB2-BD59-A6C34878D82A}">
                    <a16:rowId xmlns:a16="http://schemas.microsoft.com/office/drawing/2014/main" val="2667358378"/>
                  </a:ext>
                </a:extLst>
              </a:tr>
            </a:tbl>
          </a:graphicData>
        </a:graphic>
      </p:graphicFrame>
      <p:sp>
        <p:nvSpPr>
          <p:cNvPr id="14" name="Title 1">
            <a:extLst>
              <a:ext uri="{FF2B5EF4-FFF2-40B4-BE49-F238E27FC236}">
                <a16:creationId xmlns:a16="http://schemas.microsoft.com/office/drawing/2014/main" id="{4AF2C469-1D6F-6BEA-A692-B765A44B012E}"/>
              </a:ext>
            </a:extLst>
          </p:cNvPr>
          <p:cNvSpPr>
            <a:spLocks noGrp="1"/>
          </p:cNvSpPr>
          <p:nvPr>
            <p:ph type="title"/>
          </p:nvPr>
        </p:nvSpPr>
        <p:spPr>
          <a:xfrm rot="16200000">
            <a:off x="-2662451" y="3186322"/>
            <a:ext cx="6102496" cy="399820"/>
          </a:xfrm>
        </p:spPr>
        <p:txBody>
          <a:bodyPr/>
          <a:lstStyle/>
          <a:p>
            <a:r>
              <a:rPr lang="da-DK" sz="2000" dirty="0"/>
              <a:t>Det</a:t>
            </a:r>
            <a:r>
              <a:rPr lang="da-DK" sz="2800" dirty="0"/>
              <a:t> </a:t>
            </a:r>
            <a:r>
              <a:rPr lang="da-DK" sz="2000" dirty="0"/>
              <a:t>dobbelte bogføringsprincip</a:t>
            </a:r>
            <a:endParaRPr lang="da-DK" sz="2800" dirty="0"/>
          </a:p>
        </p:txBody>
      </p:sp>
      <p:sp>
        <p:nvSpPr>
          <p:cNvPr id="15" name="Tekstfelt 14">
            <a:extLst>
              <a:ext uri="{FF2B5EF4-FFF2-40B4-BE49-F238E27FC236}">
                <a16:creationId xmlns:a16="http://schemas.microsoft.com/office/drawing/2014/main" id="{41C4E2E9-EF73-24AA-3155-4E59F49CD504}"/>
              </a:ext>
            </a:extLst>
          </p:cNvPr>
          <p:cNvSpPr txBox="1"/>
          <p:nvPr/>
        </p:nvSpPr>
        <p:spPr>
          <a:xfrm>
            <a:off x="484732" y="-44071"/>
            <a:ext cx="2247731" cy="523220"/>
          </a:xfrm>
          <a:prstGeom prst="rect">
            <a:avLst/>
          </a:prstGeom>
          <a:noFill/>
        </p:spPr>
        <p:txBody>
          <a:bodyPr wrap="none" rtlCol="0">
            <a:spAutoFit/>
          </a:bodyPr>
          <a:lstStyle/>
          <a:p>
            <a:pPr algn="l"/>
            <a:r>
              <a:rPr lang="da-DK" sz="2800" b="1" dirty="0">
                <a:latin typeface="+mj-lt"/>
              </a:rPr>
              <a:t>Kontoplan</a:t>
            </a:r>
          </a:p>
        </p:txBody>
      </p:sp>
      <p:sp>
        <p:nvSpPr>
          <p:cNvPr id="16" name="Tekstfelt 15">
            <a:extLst>
              <a:ext uri="{FF2B5EF4-FFF2-40B4-BE49-F238E27FC236}">
                <a16:creationId xmlns:a16="http://schemas.microsoft.com/office/drawing/2014/main" id="{79B2D2F5-C101-4327-65ED-D8F49B639D0D}"/>
              </a:ext>
            </a:extLst>
          </p:cNvPr>
          <p:cNvSpPr txBox="1"/>
          <p:nvPr/>
        </p:nvSpPr>
        <p:spPr>
          <a:xfrm>
            <a:off x="10067582" y="1222863"/>
            <a:ext cx="1136577" cy="1261884"/>
          </a:xfrm>
          <a:prstGeom prst="rect">
            <a:avLst/>
          </a:prstGeom>
          <a:noFill/>
          <a:ln w="19050">
            <a:solidFill>
              <a:schemeClr val="bg2">
                <a:lumMod val="50000"/>
              </a:schemeClr>
            </a:solidFill>
          </a:ln>
        </p:spPr>
        <p:txBody>
          <a:bodyPr wrap="square" rtlCol="0">
            <a:spAutoFit/>
          </a:bodyPr>
          <a:lstStyle/>
          <a:p>
            <a:pPr algn="l"/>
            <a:r>
              <a:rPr lang="da-DK" sz="1900" dirty="0">
                <a:solidFill>
                  <a:schemeClr val="tx1">
                    <a:lumMod val="50000"/>
                    <a:lumOff val="50000"/>
                  </a:schemeClr>
                </a:solidFill>
              </a:rPr>
              <a:t>+ 7999</a:t>
            </a:r>
          </a:p>
          <a:p>
            <a:pPr algn="l"/>
            <a:r>
              <a:rPr lang="da-DK" sz="1900" dirty="0">
                <a:solidFill>
                  <a:schemeClr val="tx1">
                    <a:lumMod val="50000"/>
                    <a:lumOff val="50000"/>
                  </a:schemeClr>
                </a:solidFill>
              </a:rPr>
              <a:t>+ 8999</a:t>
            </a:r>
          </a:p>
          <a:p>
            <a:pPr algn="l"/>
            <a:r>
              <a:rPr lang="da-DK" sz="1900" u="sng" dirty="0">
                <a:solidFill>
                  <a:schemeClr val="tx1">
                    <a:lumMod val="50000"/>
                    <a:lumOff val="50000"/>
                  </a:schemeClr>
                </a:solidFill>
              </a:rPr>
              <a:t>+ 9999</a:t>
            </a:r>
            <a:br>
              <a:rPr lang="da-DK" sz="1900" dirty="0">
                <a:solidFill>
                  <a:schemeClr val="tx1">
                    <a:lumMod val="50000"/>
                    <a:lumOff val="50000"/>
                  </a:schemeClr>
                </a:solidFill>
              </a:rPr>
            </a:br>
            <a:r>
              <a:rPr lang="da-DK" sz="1900" dirty="0">
                <a:solidFill>
                  <a:schemeClr val="tx1">
                    <a:lumMod val="50000"/>
                    <a:lumOff val="50000"/>
                  </a:schemeClr>
                </a:solidFill>
              </a:rPr>
              <a:t>         0</a:t>
            </a:r>
          </a:p>
        </p:txBody>
      </p:sp>
    </p:spTree>
    <p:extLst>
      <p:ext uri="{BB962C8B-B14F-4D97-AF65-F5344CB8AC3E}">
        <p14:creationId xmlns:p14="http://schemas.microsoft.com/office/powerpoint/2010/main" val="25255073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8B60B1-F78B-43AA-8F32-69FF0A33C5F6}"/>
              </a:ext>
            </a:extLst>
          </p:cNvPr>
          <p:cNvSpPr>
            <a:spLocks noGrp="1"/>
          </p:cNvSpPr>
          <p:nvPr>
            <p:ph type="title"/>
          </p:nvPr>
        </p:nvSpPr>
        <p:spPr>
          <a:xfrm>
            <a:off x="838198" y="767968"/>
            <a:ext cx="10515602" cy="410837"/>
          </a:xfrm>
        </p:spPr>
        <p:txBody>
          <a:bodyPr>
            <a:normAutofit/>
          </a:bodyPr>
          <a:lstStyle/>
          <a:p>
            <a:r>
              <a:rPr lang="da-DK" sz="2900" dirty="0"/>
              <a:t>Ordforklaringer</a:t>
            </a:r>
          </a:p>
        </p:txBody>
      </p:sp>
      <p:sp>
        <p:nvSpPr>
          <p:cNvPr id="4" name="Footer Placeholder 3">
            <a:extLst>
              <a:ext uri="{FF2B5EF4-FFF2-40B4-BE49-F238E27FC236}">
                <a16:creationId xmlns:a16="http://schemas.microsoft.com/office/drawing/2014/main" id="{F4F04623-D237-433D-BD8C-51932972D7AC}"/>
              </a:ext>
            </a:extLst>
          </p:cNvPr>
          <p:cNvSpPr>
            <a:spLocks noGrp="1"/>
          </p:cNvSpPr>
          <p:nvPr>
            <p:ph type="ftr" sz="quarter" idx="11"/>
          </p:nvPr>
        </p:nvSpPr>
        <p:spPr/>
        <p:txBody>
          <a:bodyPr/>
          <a:lstStyle/>
          <a:p>
            <a:pPr>
              <a:spcAft>
                <a:spcPts val="600"/>
              </a:spcAft>
            </a:pPr>
            <a:r>
              <a:rPr lang="da-DK" dirty="0"/>
              <a:t>RØDE KORS / Introduktionskursus for nye kasserere / 2025</a:t>
            </a:r>
          </a:p>
        </p:txBody>
      </p:sp>
      <p:sp>
        <p:nvSpPr>
          <p:cNvPr id="3" name="Content Placeholder 2">
            <a:extLst>
              <a:ext uri="{FF2B5EF4-FFF2-40B4-BE49-F238E27FC236}">
                <a16:creationId xmlns:a16="http://schemas.microsoft.com/office/drawing/2014/main" id="{F4F8CE14-0D98-43C8-8E66-5F3DB4C5661E}"/>
              </a:ext>
            </a:extLst>
          </p:cNvPr>
          <p:cNvSpPr>
            <a:spLocks noGrp="1"/>
          </p:cNvSpPr>
          <p:nvPr>
            <p:ph type="body" sz="quarter" idx="13"/>
          </p:nvPr>
        </p:nvSpPr>
        <p:spPr>
          <a:xfrm>
            <a:off x="396607" y="2170322"/>
            <a:ext cx="11413474" cy="3752805"/>
          </a:xfrm>
        </p:spPr>
        <p:txBody>
          <a:bodyPr vert="horz" lIns="0" tIns="0" rIns="0" bIns="0" rtlCol="0" anchor="t">
            <a:normAutofit/>
          </a:bodyPr>
          <a:lstStyle/>
          <a:p>
            <a:pPr marL="0" indent="0" algn="ctr">
              <a:buNone/>
            </a:pPr>
            <a:r>
              <a:rPr lang="da-DK" sz="1600" dirty="0"/>
              <a:t>Konto: Det sted i kontoplanen, hvor et beløb registreres (bogføres/posteres), typisk udgift eller indtægt</a:t>
            </a:r>
          </a:p>
          <a:p>
            <a:pPr marL="0" indent="0" algn="ctr">
              <a:buNone/>
            </a:pPr>
            <a:r>
              <a:rPr lang="da-DK" sz="1600" dirty="0"/>
              <a:t>Modkonto: Den konto, som har det modsatte fortegn af </a:t>
            </a:r>
            <a:r>
              <a:rPr lang="da-DK" sz="1600"/>
              <a:t>'Konto',</a:t>
            </a:r>
            <a:r>
              <a:rPr lang="da-DK" sz="1600" dirty="0"/>
              <a:t> typisk en konto i balancen (fx bank)</a:t>
            </a:r>
            <a:endParaRPr lang="da-DK" sz="1600">
              <a:ea typeface="Verdana"/>
            </a:endParaRPr>
          </a:p>
          <a:p>
            <a:pPr marL="0" indent="0" algn="ctr">
              <a:buNone/>
            </a:pPr>
            <a:r>
              <a:rPr lang="da-DK" sz="1600" dirty="0"/>
              <a:t>Kontering: Angivelse af, hvilken konto et beløb skal bogføres på, også angivelse af dimension(er)</a:t>
            </a:r>
            <a:endParaRPr lang="da-DK" sz="1600">
              <a:ea typeface="Verdana"/>
            </a:endParaRPr>
          </a:p>
          <a:p>
            <a:pPr marL="0" indent="0" algn="ctr">
              <a:buNone/>
            </a:pPr>
            <a:r>
              <a:rPr lang="da-DK" sz="1600" dirty="0"/>
              <a:t>Post/postering: Det bogførte beløb</a:t>
            </a:r>
            <a:endParaRPr lang="da-DK" sz="1600">
              <a:ea typeface="Verdana"/>
            </a:endParaRPr>
          </a:p>
          <a:p>
            <a:pPr marL="0" indent="0" algn="ctr">
              <a:buNone/>
            </a:pPr>
            <a:endParaRPr lang="da-DK" sz="1600" dirty="0"/>
          </a:p>
          <a:p>
            <a:pPr marL="0" indent="0" algn="ctr">
              <a:buNone/>
            </a:pPr>
            <a:r>
              <a:rPr lang="da-DK" sz="1600" dirty="0"/>
              <a:t>Periodisering: Når et beløb bogføres som indtægt eller udgift i en anden periode, end når det går i banken</a:t>
            </a:r>
            <a:endParaRPr lang="da-DK" sz="1600">
              <a:ea typeface="Verdana"/>
            </a:endParaRPr>
          </a:p>
        </p:txBody>
      </p:sp>
    </p:spTree>
    <p:extLst>
      <p:ext uri="{BB962C8B-B14F-4D97-AF65-F5344CB8AC3E}">
        <p14:creationId xmlns:p14="http://schemas.microsoft.com/office/powerpoint/2010/main" val="374829846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C8975A4-4085-33E4-36B0-0101B1C3E676}"/>
              </a:ext>
            </a:extLst>
          </p:cNvPr>
          <p:cNvSpPr>
            <a:spLocks noGrp="1"/>
          </p:cNvSpPr>
          <p:nvPr>
            <p:ph type="title"/>
          </p:nvPr>
        </p:nvSpPr>
        <p:spPr>
          <a:xfrm>
            <a:off x="838200" y="723900"/>
            <a:ext cx="10515600" cy="521006"/>
          </a:xfrm>
        </p:spPr>
        <p:txBody>
          <a:bodyPr/>
          <a:lstStyle/>
          <a:p>
            <a:r>
              <a:rPr lang="da-DK" dirty="0"/>
              <a:t>Kontoplan med dimensioner</a:t>
            </a:r>
          </a:p>
        </p:txBody>
      </p:sp>
      <p:sp>
        <p:nvSpPr>
          <p:cNvPr id="3" name="Pladsholder til sidefod 2">
            <a:extLst>
              <a:ext uri="{FF2B5EF4-FFF2-40B4-BE49-F238E27FC236}">
                <a16:creationId xmlns:a16="http://schemas.microsoft.com/office/drawing/2014/main" id="{DBE1E7D0-93E6-155F-1BAC-A752720CEBC6}"/>
              </a:ext>
            </a:extLst>
          </p:cNvPr>
          <p:cNvSpPr>
            <a:spLocks noGrp="1"/>
          </p:cNvSpPr>
          <p:nvPr>
            <p:ph type="ftr" sz="quarter" idx="11"/>
          </p:nvPr>
        </p:nvSpPr>
        <p:spPr/>
        <p:txBody>
          <a:bodyPr/>
          <a:lstStyle/>
          <a:p>
            <a:r>
              <a:rPr lang="da-DK"/>
              <a:t>RØDE KORS / Introduktionskursus for nye kasserere / 2025</a:t>
            </a:r>
          </a:p>
        </p:txBody>
      </p:sp>
      <p:sp>
        <p:nvSpPr>
          <p:cNvPr id="5" name="Tekstfelt 4">
            <a:extLst>
              <a:ext uri="{FF2B5EF4-FFF2-40B4-BE49-F238E27FC236}">
                <a16:creationId xmlns:a16="http://schemas.microsoft.com/office/drawing/2014/main" id="{4C3AC16A-4F2A-E638-796A-96E2EB593719}"/>
              </a:ext>
            </a:extLst>
          </p:cNvPr>
          <p:cNvSpPr txBox="1"/>
          <p:nvPr/>
        </p:nvSpPr>
        <p:spPr>
          <a:xfrm>
            <a:off x="1553905" y="1917655"/>
            <a:ext cx="3657078" cy="3354765"/>
          </a:xfrm>
          <a:prstGeom prst="rect">
            <a:avLst/>
          </a:prstGeom>
          <a:noFill/>
        </p:spPr>
        <p:txBody>
          <a:bodyPr wrap="square" rtlCol="0">
            <a:spAutoFit/>
          </a:bodyPr>
          <a:lstStyle/>
          <a:p>
            <a:pPr algn="ctr"/>
            <a:r>
              <a:rPr lang="da-DK" sz="2000" b="1" dirty="0"/>
              <a:t>Kontoplan uden</a:t>
            </a:r>
            <a:br>
              <a:rPr lang="da-DK" sz="2000" b="1" dirty="0"/>
            </a:br>
            <a:r>
              <a:rPr lang="da-DK" sz="2000" b="1" dirty="0"/>
              <a:t>dimensioner</a:t>
            </a:r>
          </a:p>
          <a:p>
            <a:pPr algn="ctr"/>
            <a:endParaRPr lang="da-DK" sz="1400" b="1" dirty="0"/>
          </a:p>
          <a:p>
            <a:r>
              <a:rPr lang="da-DK" sz="1800" kern="100" dirty="0">
                <a:effectLst/>
                <a:latin typeface="Verdana" panose="020B0604030504040204" pitchFamily="34" charset="0"/>
                <a:ea typeface="Calibri" panose="020F0502020204030204" pitchFamily="34" charset="0"/>
                <a:cs typeface="Times New Roman" panose="02020603050405020304" pitchFamily="18" charset="0"/>
              </a:rPr>
              <a:t>1001 Salg butik Østergade</a:t>
            </a:r>
          </a:p>
          <a:p>
            <a:r>
              <a:rPr lang="da-DK" kern="100" dirty="0">
                <a:latin typeface="Verdana" panose="020B0604030504040204" pitchFamily="34" charset="0"/>
                <a:ea typeface="Calibri" panose="020F0502020204030204" pitchFamily="34" charset="0"/>
                <a:cs typeface="Times New Roman" panose="02020603050405020304" pitchFamily="18" charset="0"/>
              </a:rPr>
              <a:t>1002 Salg butik Vestergade</a:t>
            </a:r>
          </a:p>
          <a:p>
            <a:r>
              <a:rPr lang="da-DK" sz="1800" kern="100" dirty="0">
                <a:effectLst/>
                <a:latin typeface="Verdana" panose="020B0604030504040204" pitchFamily="34" charset="0"/>
                <a:ea typeface="Calibri" panose="020F0502020204030204" pitchFamily="34" charset="0"/>
                <a:cs typeface="Times New Roman" panose="02020603050405020304" pitchFamily="18" charset="0"/>
              </a:rPr>
              <a:t>1003 Salg førstehjælpskurser</a:t>
            </a:r>
          </a:p>
          <a:p>
            <a:r>
              <a:rPr lang="da-DK" kern="100" dirty="0">
                <a:latin typeface="Verdana" panose="020B0604030504040204" pitchFamily="34" charset="0"/>
                <a:ea typeface="Calibri" panose="020F0502020204030204" pitchFamily="34" charset="0"/>
                <a:cs typeface="Times New Roman" panose="02020603050405020304" pitchFamily="18" charset="0"/>
              </a:rPr>
              <a:t>1004 Salg samaritertjenester</a:t>
            </a:r>
          </a:p>
          <a:p>
            <a:r>
              <a:rPr lang="da-DK" sz="1800" kern="100" dirty="0">
                <a:effectLst/>
                <a:latin typeface="Verdana" panose="020B0604030504040204" pitchFamily="34" charset="0"/>
                <a:ea typeface="Calibri" panose="020F0502020204030204" pitchFamily="34" charset="0"/>
                <a:cs typeface="Times New Roman" panose="02020603050405020304" pitchFamily="18" charset="0"/>
              </a:rPr>
              <a:t>1005 Salg café</a:t>
            </a:r>
          </a:p>
          <a:p>
            <a:r>
              <a:rPr lang="da-DK" kern="100" dirty="0">
                <a:latin typeface="Verdana" panose="020B0604030504040204" pitchFamily="34" charset="0"/>
                <a:ea typeface="Calibri" panose="020F0502020204030204" pitchFamily="34" charset="0"/>
                <a:cs typeface="Times New Roman" panose="02020603050405020304" pitchFamily="18" charset="0"/>
              </a:rPr>
              <a:t>1006 Salg diverse</a:t>
            </a:r>
          </a:p>
          <a:p>
            <a:r>
              <a:rPr lang="da-DK" sz="1800" kern="100" dirty="0">
                <a:effectLst/>
                <a:latin typeface="Verdana" panose="020B0604030504040204" pitchFamily="34" charset="0"/>
                <a:ea typeface="Calibri" panose="020F0502020204030204" pitchFamily="34" charset="0"/>
                <a:cs typeface="Times New Roman" panose="02020603050405020304" pitchFamily="18" charset="0"/>
              </a:rPr>
              <a:t>1007 Salg butik Nørregade</a:t>
            </a:r>
          </a:p>
          <a:p>
            <a:endParaRPr lang="da-DK" b="1" kern="100" dirty="0">
              <a:latin typeface="Verdana" panose="020B0604030504040204" pitchFamily="34" charset="0"/>
              <a:ea typeface="Calibri" panose="020F0502020204030204" pitchFamily="34" charset="0"/>
              <a:cs typeface="Times New Roman" panose="02020603050405020304" pitchFamily="18" charset="0"/>
            </a:endParaRPr>
          </a:p>
          <a:p>
            <a:endParaRPr lang="da-DK" sz="1400" b="1" dirty="0"/>
          </a:p>
        </p:txBody>
      </p:sp>
      <p:sp>
        <p:nvSpPr>
          <p:cNvPr id="6" name="Tekstfelt 5">
            <a:extLst>
              <a:ext uri="{FF2B5EF4-FFF2-40B4-BE49-F238E27FC236}">
                <a16:creationId xmlns:a16="http://schemas.microsoft.com/office/drawing/2014/main" id="{6D62D463-7733-F752-C23C-54D3320A415A}"/>
              </a:ext>
            </a:extLst>
          </p:cNvPr>
          <p:cNvSpPr txBox="1"/>
          <p:nvPr/>
        </p:nvSpPr>
        <p:spPr>
          <a:xfrm>
            <a:off x="1568762" y="1917655"/>
            <a:ext cx="3657078" cy="3354765"/>
          </a:xfrm>
          <a:prstGeom prst="rect">
            <a:avLst/>
          </a:prstGeom>
          <a:solidFill>
            <a:schemeClr val="bg1"/>
          </a:solidFill>
        </p:spPr>
        <p:txBody>
          <a:bodyPr wrap="square" lIns="91440" tIns="45720" rIns="91440" bIns="45720" rtlCol="0" anchor="t">
            <a:spAutoFit/>
          </a:bodyPr>
          <a:lstStyle/>
          <a:p>
            <a:pPr algn="ctr"/>
            <a:r>
              <a:rPr lang="da-DK" sz="2000" b="1" dirty="0"/>
              <a:t>Kontoplan med</a:t>
            </a:r>
            <a:br>
              <a:rPr lang="da-DK" sz="2000" b="1" dirty="0"/>
            </a:br>
            <a:r>
              <a:rPr lang="da-DK" sz="2000" b="1" dirty="0"/>
              <a:t>dimensioner</a:t>
            </a:r>
          </a:p>
          <a:p>
            <a:pPr algn="ctr"/>
            <a:endParaRPr lang="da-DK" sz="1400" b="1" dirty="0"/>
          </a:p>
          <a:p>
            <a:br>
              <a:rPr lang="da-DK" sz="1800" kern="100" dirty="0">
                <a:effectLst/>
                <a:latin typeface="Verdana" panose="020B0604030504040204" pitchFamily="34" charset="0"/>
                <a:ea typeface="Calibri" panose="020F0502020204030204" pitchFamily="34" charset="0"/>
                <a:cs typeface="Times New Roman" panose="02020603050405020304" pitchFamily="18" charset="0"/>
              </a:rPr>
            </a:br>
            <a:r>
              <a:rPr lang="da-DK" sz="1800" kern="100">
                <a:effectLst/>
                <a:latin typeface="Verdana"/>
                <a:ea typeface="Calibri"/>
                <a:cs typeface="Times New Roman"/>
              </a:rPr>
              <a:t>              </a:t>
            </a:r>
            <a:r>
              <a:rPr lang="da-DK" kern="100">
                <a:latin typeface="Verdana"/>
                <a:ea typeface="Calibri"/>
                <a:cs typeface="Times New Roman"/>
              </a:rPr>
              <a:t>1010</a:t>
            </a:r>
            <a:r>
              <a:rPr lang="da-DK" sz="1800" kern="100">
                <a:effectLst/>
                <a:latin typeface="Verdana"/>
                <a:ea typeface="Calibri"/>
                <a:cs typeface="Times New Roman"/>
              </a:rPr>
              <a:t> Salg</a:t>
            </a:r>
          </a:p>
          <a:p>
            <a:endParaRPr lang="da-DK" b="1" kern="100" dirty="0">
              <a:latin typeface="Verdana" panose="020B0604030504040204" pitchFamily="34" charset="0"/>
              <a:ea typeface="Calibri" panose="020F0502020204030204" pitchFamily="34" charset="0"/>
              <a:cs typeface="Times New Roman" panose="02020603050405020304" pitchFamily="18" charset="0"/>
            </a:endParaRPr>
          </a:p>
          <a:p>
            <a:endParaRPr lang="da-DK" b="1" kern="100" dirty="0">
              <a:latin typeface="Verdana" panose="020B0604030504040204" pitchFamily="34" charset="0"/>
              <a:ea typeface="Calibri" panose="020F0502020204030204" pitchFamily="34" charset="0"/>
              <a:cs typeface="Times New Roman" panose="02020603050405020304" pitchFamily="18" charset="0"/>
            </a:endParaRPr>
          </a:p>
          <a:p>
            <a:endParaRPr lang="da-DK" b="1" kern="100" dirty="0">
              <a:latin typeface="Verdana" panose="020B0604030504040204" pitchFamily="34" charset="0"/>
              <a:ea typeface="Calibri" panose="020F0502020204030204" pitchFamily="34" charset="0"/>
              <a:cs typeface="Times New Roman" panose="02020603050405020304" pitchFamily="18" charset="0"/>
            </a:endParaRPr>
          </a:p>
          <a:p>
            <a:endParaRPr lang="da-DK" b="1" kern="100" dirty="0">
              <a:latin typeface="Verdana" panose="020B0604030504040204" pitchFamily="34" charset="0"/>
              <a:ea typeface="Calibri" panose="020F0502020204030204" pitchFamily="34" charset="0"/>
              <a:cs typeface="Times New Roman" panose="02020603050405020304" pitchFamily="18" charset="0"/>
            </a:endParaRPr>
          </a:p>
          <a:p>
            <a:endParaRPr lang="da-DK" b="1" kern="100" dirty="0">
              <a:latin typeface="Verdana" panose="020B0604030504040204" pitchFamily="34" charset="0"/>
              <a:ea typeface="Calibri" panose="020F0502020204030204" pitchFamily="34" charset="0"/>
              <a:cs typeface="Times New Roman" panose="02020603050405020304" pitchFamily="18" charset="0"/>
            </a:endParaRPr>
          </a:p>
          <a:p>
            <a:endParaRPr lang="da-DK" b="1" kern="100" dirty="0">
              <a:latin typeface="Verdana" panose="020B0604030504040204" pitchFamily="34" charset="0"/>
              <a:ea typeface="Calibri" panose="020F0502020204030204" pitchFamily="34" charset="0"/>
              <a:cs typeface="Times New Roman" panose="02020603050405020304" pitchFamily="18" charset="0"/>
            </a:endParaRPr>
          </a:p>
          <a:p>
            <a:endParaRPr lang="da-DK" sz="1400" b="1" dirty="0"/>
          </a:p>
        </p:txBody>
      </p:sp>
      <p:sp>
        <p:nvSpPr>
          <p:cNvPr id="7" name="Tekstfelt 6">
            <a:extLst>
              <a:ext uri="{FF2B5EF4-FFF2-40B4-BE49-F238E27FC236}">
                <a16:creationId xmlns:a16="http://schemas.microsoft.com/office/drawing/2014/main" id="{B83B60E7-EBC0-9877-1AA6-F5E5AB61ED5A}"/>
              </a:ext>
            </a:extLst>
          </p:cNvPr>
          <p:cNvSpPr txBox="1"/>
          <p:nvPr/>
        </p:nvSpPr>
        <p:spPr>
          <a:xfrm>
            <a:off x="6614989" y="1917655"/>
            <a:ext cx="4144293" cy="3323987"/>
          </a:xfrm>
          <a:prstGeom prst="rect">
            <a:avLst/>
          </a:prstGeom>
          <a:noFill/>
        </p:spPr>
        <p:txBody>
          <a:bodyPr wrap="square" rtlCol="0">
            <a:spAutoFit/>
          </a:bodyPr>
          <a:lstStyle/>
          <a:p>
            <a:pPr algn="ctr"/>
            <a:r>
              <a:rPr lang="da-DK" sz="2000" b="1" dirty="0"/>
              <a:t>Dimensioner</a:t>
            </a:r>
          </a:p>
          <a:p>
            <a:pPr algn="ctr"/>
            <a:endParaRPr lang="da-DK" sz="1400" b="1" dirty="0"/>
          </a:p>
          <a:p>
            <a:r>
              <a:rPr lang="da-DK" kern="100" dirty="0">
                <a:latin typeface="Verdana" panose="020B0604030504040204" pitchFamily="34" charset="0"/>
                <a:ea typeface="Calibri" panose="020F0502020204030204" pitchFamily="34" charset="0"/>
                <a:cs typeface="Times New Roman" panose="02020603050405020304" pitchFamily="18" charset="0"/>
              </a:rPr>
              <a:t>AI     Anden indtægtsgenererende                    </a:t>
            </a:r>
            <a:r>
              <a:rPr lang="da-DK" kern="100" dirty="0" err="1">
                <a:solidFill>
                  <a:schemeClr val="bg1"/>
                </a:solidFill>
                <a:latin typeface="Verdana" panose="020B0604030504040204" pitchFamily="34" charset="0"/>
                <a:ea typeface="Calibri" panose="020F0502020204030204" pitchFamily="34" charset="0"/>
                <a:cs typeface="Times New Roman" panose="02020603050405020304" pitchFamily="18" charset="0"/>
              </a:rPr>
              <a:t>iiiiiiiiii</a:t>
            </a:r>
            <a:r>
              <a:rPr lang="da-DK" kern="100" dirty="0" err="1">
                <a:latin typeface="Verdana" panose="020B0604030504040204" pitchFamily="34" charset="0"/>
                <a:ea typeface="Calibri" panose="020F0502020204030204" pitchFamily="34" charset="0"/>
                <a:cs typeface="Times New Roman" panose="02020603050405020304" pitchFamily="18" charset="0"/>
              </a:rPr>
              <a:t>virksomhed</a:t>
            </a:r>
            <a:r>
              <a:rPr lang="da-DK" kern="100" dirty="0">
                <a:latin typeface="Verdana" panose="020B0604030504040204" pitchFamily="34" charset="0"/>
                <a:ea typeface="Calibri" panose="020F0502020204030204" pitchFamily="34" charset="0"/>
                <a:cs typeface="Times New Roman" panose="02020603050405020304" pitchFamily="18" charset="0"/>
              </a:rPr>
              <a:t>       </a:t>
            </a:r>
          </a:p>
          <a:p>
            <a:r>
              <a:rPr lang="da-DK" sz="1800" kern="100" dirty="0">
                <a:effectLst/>
                <a:latin typeface="Verdana" panose="020B0604030504040204" pitchFamily="34" charset="0"/>
                <a:ea typeface="Calibri" panose="020F0502020204030204" pitchFamily="34" charset="0"/>
                <a:cs typeface="Times New Roman" panose="02020603050405020304" pitchFamily="18" charset="0"/>
              </a:rPr>
              <a:t>B001 Butik Østergade</a:t>
            </a:r>
          </a:p>
          <a:p>
            <a:r>
              <a:rPr lang="da-DK" kern="100" dirty="0">
                <a:latin typeface="Verdana" panose="020B0604030504040204" pitchFamily="34" charset="0"/>
                <a:ea typeface="Calibri" panose="020F0502020204030204" pitchFamily="34" charset="0"/>
                <a:cs typeface="Times New Roman" panose="02020603050405020304" pitchFamily="18" charset="0"/>
              </a:rPr>
              <a:t>B002 Butik Vestergade</a:t>
            </a:r>
          </a:p>
          <a:p>
            <a:r>
              <a:rPr lang="da-DK" kern="100" dirty="0">
                <a:latin typeface="Verdana" panose="020B0604030504040204" pitchFamily="34" charset="0"/>
                <a:ea typeface="Calibri" panose="020F0502020204030204" pitchFamily="34" charset="0"/>
                <a:cs typeface="Times New Roman" panose="02020603050405020304" pitchFamily="18" charset="0"/>
              </a:rPr>
              <a:t>B003 Butik Nørregade</a:t>
            </a:r>
          </a:p>
          <a:p>
            <a:r>
              <a:rPr lang="da-DK" kern="100" dirty="0">
                <a:latin typeface="Verdana" panose="020B0604030504040204" pitchFamily="34" charset="0"/>
                <a:ea typeface="Calibri" panose="020F0502020204030204" pitchFamily="34" charset="0"/>
                <a:cs typeface="Times New Roman" panose="02020603050405020304" pitchFamily="18" charset="0"/>
              </a:rPr>
              <a:t>CAF   Café</a:t>
            </a:r>
          </a:p>
          <a:p>
            <a:r>
              <a:rPr lang="da-DK" kern="100" dirty="0">
                <a:latin typeface="Verdana" panose="020B0604030504040204" pitchFamily="34" charset="0"/>
                <a:ea typeface="Calibri" panose="020F0502020204030204" pitchFamily="34" charset="0"/>
                <a:cs typeface="Times New Roman" panose="02020603050405020304" pitchFamily="18" charset="0"/>
              </a:rPr>
              <a:t>FHJ  </a:t>
            </a:r>
            <a:r>
              <a:rPr lang="da-DK" sz="1800" kern="100" dirty="0">
                <a:effectLst/>
                <a:latin typeface="Verdana" panose="020B0604030504040204" pitchFamily="34" charset="0"/>
                <a:ea typeface="Calibri" panose="020F0502020204030204" pitchFamily="34" charset="0"/>
                <a:cs typeface="Times New Roman" panose="02020603050405020304" pitchFamily="18" charset="0"/>
              </a:rPr>
              <a:t> Førstehjælpskurser</a:t>
            </a:r>
          </a:p>
          <a:p>
            <a:r>
              <a:rPr lang="da-DK" kern="100" dirty="0">
                <a:latin typeface="Verdana" panose="020B0604030504040204" pitchFamily="34" charset="0"/>
                <a:ea typeface="Calibri" panose="020F0502020204030204" pitchFamily="34" charset="0"/>
                <a:cs typeface="Times New Roman" panose="02020603050405020304" pitchFamily="18" charset="0"/>
              </a:rPr>
              <a:t>SAM  Samaritertjenester</a:t>
            </a:r>
          </a:p>
          <a:p>
            <a:endParaRPr lang="da-DK" b="1" kern="100" dirty="0">
              <a:latin typeface="Verdana" panose="020B0604030504040204" pitchFamily="34" charset="0"/>
              <a:ea typeface="Calibri" panose="020F0502020204030204" pitchFamily="34" charset="0"/>
              <a:cs typeface="Times New Roman" panose="02020603050405020304" pitchFamily="18" charset="0"/>
            </a:endParaRPr>
          </a:p>
          <a:p>
            <a:endParaRPr lang="da-DK" sz="1400" b="1" dirty="0"/>
          </a:p>
        </p:txBody>
      </p:sp>
      <p:sp>
        <p:nvSpPr>
          <p:cNvPr id="8" name="Pil: højre 7">
            <a:extLst>
              <a:ext uri="{FF2B5EF4-FFF2-40B4-BE49-F238E27FC236}">
                <a16:creationId xmlns:a16="http://schemas.microsoft.com/office/drawing/2014/main" id="{B42A3431-A5CF-763F-62BC-C35722950FC5}"/>
              </a:ext>
            </a:extLst>
          </p:cNvPr>
          <p:cNvSpPr/>
          <p:nvPr/>
        </p:nvSpPr>
        <p:spPr>
          <a:xfrm rot="814993">
            <a:off x="4416711" y="3403385"/>
            <a:ext cx="2166363" cy="101733"/>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dirty="0"/>
          </a:p>
        </p:txBody>
      </p:sp>
    </p:spTree>
    <p:extLst>
      <p:ext uri="{BB962C8B-B14F-4D97-AF65-F5344CB8AC3E}">
        <p14:creationId xmlns:p14="http://schemas.microsoft.com/office/powerpoint/2010/main" val="24716251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8"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F6208E-9313-B8B5-CA1F-EEF884ECEAF2}"/>
              </a:ext>
            </a:extLst>
          </p:cNvPr>
          <p:cNvSpPr>
            <a:spLocks noGrp="1"/>
          </p:cNvSpPr>
          <p:nvPr>
            <p:ph type="title"/>
          </p:nvPr>
        </p:nvSpPr>
        <p:spPr/>
        <p:txBody>
          <a:bodyPr/>
          <a:lstStyle/>
          <a:p>
            <a:r>
              <a:rPr lang="en-US" dirty="0" err="1"/>
              <a:t>Kontoplan</a:t>
            </a:r>
            <a:r>
              <a:rPr lang="en-US" dirty="0"/>
              <a:t> med </a:t>
            </a:r>
            <a:r>
              <a:rPr lang="en-US" dirty="0" err="1"/>
              <a:t>dimensioner</a:t>
            </a:r>
            <a:endParaRPr lang="da-DK" dirty="0"/>
          </a:p>
        </p:txBody>
      </p:sp>
      <p:sp>
        <p:nvSpPr>
          <p:cNvPr id="4" name="Footer Placeholder 3">
            <a:extLst>
              <a:ext uri="{FF2B5EF4-FFF2-40B4-BE49-F238E27FC236}">
                <a16:creationId xmlns:a16="http://schemas.microsoft.com/office/drawing/2014/main" id="{FBD1EC97-73EF-4D01-A213-909B894A20A1}"/>
              </a:ext>
            </a:extLst>
          </p:cNvPr>
          <p:cNvSpPr>
            <a:spLocks noGrp="1"/>
          </p:cNvSpPr>
          <p:nvPr>
            <p:ph type="ftr" sz="quarter" idx="11"/>
          </p:nvPr>
        </p:nvSpPr>
        <p:spPr>
          <a:xfrm>
            <a:off x="838199" y="6398603"/>
            <a:ext cx="10515599" cy="237600"/>
          </a:xfrm>
        </p:spPr>
        <p:txBody>
          <a:bodyPr/>
          <a:lstStyle/>
          <a:p>
            <a:r>
              <a:rPr lang="da-DK"/>
              <a:t>RØDE KORS / Introduktionskursus for nye kasserere / 2025</a:t>
            </a:r>
          </a:p>
        </p:txBody>
      </p:sp>
      <p:sp>
        <p:nvSpPr>
          <p:cNvPr id="8" name="Rektangel: afrundede hjørner 7">
            <a:extLst>
              <a:ext uri="{FF2B5EF4-FFF2-40B4-BE49-F238E27FC236}">
                <a16:creationId xmlns:a16="http://schemas.microsoft.com/office/drawing/2014/main" id="{E5C5D06B-739B-3416-42F9-5E7642E25483}"/>
              </a:ext>
            </a:extLst>
          </p:cNvPr>
          <p:cNvSpPr/>
          <p:nvPr/>
        </p:nvSpPr>
        <p:spPr>
          <a:xfrm>
            <a:off x="1583634" y="1459489"/>
            <a:ext cx="4167807" cy="1738312"/>
          </a:xfrm>
          <a:prstGeom prst="roundRect">
            <a:avLst>
              <a:gd name="adj" fmla="val 1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nchorCtr="0"/>
          <a:lstStyle/>
          <a:p>
            <a:pPr algn="ctr"/>
            <a:r>
              <a:rPr lang="da-DK" sz="1800" b="1">
                <a:solidFill>
                  <a:schemeClr val="tx1"/>
                </a:solidFill>
              </a:rPr>
              <a:t>Kontoplan:</a:t>
            </a:r>
          </a:p>
          <a:p>
            <a:pPr algn="ctr"/>
            <a:r>
              <a:rPr lang="da-DK" sz="1800" b="1"/>
              <a:t> </a:t>
            </a:r>
            <a:br>
              <a:rPr lang="da-DK" sz="1800" b="1"/>
            </a:br>
            <a:r>
              <a:rPr lang="da-DK" sz="1800" b="1"/>
              <a:t>Brede, generelle konti</a:t>
            </a:r>
          </a:p>
        </p:txBody>
      </p:sp>
      <p:sp>
        <p:nvSpPr>
          <p:cNvPr id="10" name="Rektangel: afrundede hjørner 9">
            <a:extLst>
              <a:ext uri="{FF2B5EF4-FFF2-40B4-BE49-F238E27FC236}">
                <a16:creationId xmlns:a16="http://schemas.microsoft.com/office/drawing/2014/main" id="{7B0F3F04-24AA-49E0-188D-E6CA179BFBC9}"/>
              </a:ext>
            </a:extLst>
          </p:cNvPr>
          <p:cNvSpPr/>
          <p:nvPr/>
        </p:nvSpPr>
        <p:spPr>
          <a:xfrm>
            <a:off x="1583635" y="3666525"/>
            <a:ext cx="4167807" cy="1738311"/>
          </a:xfrm>
          <a:prstGeom prst="roundRect">
            <a:avLst>
              <a:gd name="adj" fmla="val 1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nchorCtr="0"/>
          <a:lstStyle/>
          <a:p>
            <a:pPr algn="ctr"/>
            <a:r>
              <a:rPr lang="da-DK" sz="1800" b="1">
                <a:solidFill>
                  <a:schemeClr val="tx1"/>
                </a:solidFill>
              </a:rPr>
              <a:t>Dimensioner:</a:t>
            </a:r>
          </a:p>
          <a:p>
            <a:pPr algn="ctr"/>
            <a:endParaRPr lang="da-DK" b="1">
              <a:solidFill>
                <a:schemeClr val="tx2"/>
              </a:solidFill>
            </a:endParaRPr>
          </a:p>
          <a:p>
            <a:pPr algn="ctr"/>
            <a:r>
              <a:rPr lang="da-DK" b="1"/>
              <a:t>S</a:t>
            </a:r>
            <a:r>
              <a:rPr lang="da-DK" sz="1800" b="1"/>
              <a:t>pecifikke aktiviteter, specifikke finansieringskilder mm.</a:t>
            </a:r>
          </a:p>
        </p:txBody>
      </p:sp>
      <p:sp>
        <p:nvSpPr>
          <p:cNvPr id="11" name="Rektangel: afrundede hjørner 10">
            <a:extLst>
              <a:ext uri="{FF2B5EF4-FFF2-40B4-BE49-F238E27FC236}">
                <a16:creationId xmlns:a16="http://schemas.microsoft.com/office/drawing/2014/main" id="{EB727AA9-A628-1858-C999-65B64D9A3275}"/>
              </a:ext>
            </a:extLst>
          </p:cNvPr>
          <p:cNvSpPr/>
          <p:nvPr/>
        </p:nvSpPr>
        <p:spPr>
          <a:xfrm>
            <a:off x="7083286" y="2324170"/>
            <a:ext cx="4167808" cy="2211510"/>
          </a:xfrm>
          <a:prstGeom prst="roundRect">
            <a:avLst>
              <a:gd name="adj" fmla="val 1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nchorCtr="0"/>
          <a:lstStyle/>
          <a:p>
            <a:pPr algn="ctr"/>
            <a:r>
              <a:rPr lang="da-DK" sz="1800" b="1" dirty="0">
                <a:solidFill>
                  <a:srgbClr val="C00000"/>
                </a:solidFill>
              </a:rPr>
              <a:t>Kombinationen af konto og dimension(er):</a:t>
            </a:r>
            <a:br>
              <a:rPr lang="da-DK" sz="1800" b="1" dirty="0">
                <a:solidFill>
                  <a:srgbClr val="C00000"/>
                </a:solidFill>
              </a:rPr>
            </a:br>
            <a:endParaRPr lang="da-DK" sz="1800" b="1" dirty="0">
              <a:solidFill>
                <a:srgbClr val="C00000"/>
              </a:solidFill>
            </a:endParaRPr>
          </a:p>
          <a:p>
            <a:pPr algn="ctr"/>
            <a:r>
              <a:rPr lang="da-DK" sz="1800" b="1" dirty="0">
                <a:solidFill>
                  <a:srgbClr val="C00000"/>
                </a:solidFill>
              </a:rPr>
              <a:t> Den præcise kontering af enhver postering i regnskabet</a:t>
            </a:r>
          </a:p>
        </p:txBody>
      </p:sp>
      <p:cxnSp>
        <p:nvCxnSpPr>
          <p:cNvPr id="15" name="Forbindelse: vinklet 14">
            <a:extLst>
              <a:ext uri="{FF2B5EF4-FFF2-40B4-BE49-F238E27FC236}">
                <a16:creationId xmlns:a16="http://schemas.microsoft.com/office/drawing/2014/main" id="{4D1FE1FE-846C-A11D-4D7F-67F025915916}"/>
              </a:ext>
            </a:extLst>
          </p:cNvPr>
          <p:cNvCxnSpPr>
            <a:cxnSpLocks/>
            <a:stCxn id="10" idx="3"/>
            <a:endCxn id="11" idx="1"/>
          </p:cNvCxnSpPr>
          <p:nvPr/>
        </p:nvCxnSpPr>
        <p:spPr>
          <a:xfrm flipV="1">
            <a:off x="5751442" y="3429925"/>
            <a:ext cx="1331844" cy="1105756"/>
          </a:xfrm>
          <a:prstGeom prst="bentConnector3">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Forbindelse: vinklet 15">
            <a:extLst>
              <a:ext uri="{FF2B5EF4-FFF2-40B4-BE49-F238E27FC236}">
                <a16:creationId xmlns:a16="http://schemas.microsoft.com/office/drawing/2014/main" id="{A2B38755-61BC-EFC5-D535-74332D335E01}"/>
              </a:ext>
            </a:extLst>
          </p:cNvPr>
          <p:cNvCxnSpPr>
            <a:cxnSpLocks/>
            <a:stCxn id="8" idx="3"/>
            <a:endCxn id="11" idx="1"/>
          </p:cNvCxnSpPr>
          <p:nvPr/>
        </p:nvCxnSpPr>
        <p:spPr>
          <a:xfrm>
            <a:off x="5751441" y="2328645"/>
            <a:ext cx="1331845" cy="1101280"/>
          </a:xfrm>
          <a:prstGeom prst="bentConnector3">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 name="Tekstfelt 4">
            <a:extLst>
              <a:ext uri="{FF2B5EF4-FFF2-40B4-BE49-F238E27FC236}">
                <a16:creationId xmlns:a16="http://schemas.microsoft.com/office/drawing/2014/main" id="{B6B0FDA4-5844-E166-B909-5B7CC61FFF31}"/>
              </a:ext>
            </a:extLst>
          </p:cNvPr>
          <p:cNvSpPr txBox="1"/>
          <p:nvPr/>
        </p:nvSpPr>
        <p:spPr>
          <a:xfrm>
            <a:off x="2682609" y="5794874"/>
            <a:ext cx="6858000" cy="338554"/>
          </a:xfrm>
          <a:prstGeom prst="rect">
            <a:avLst/>
          </a:prstGeom>
          <a:noFill/>
        </p:spPr>
        <p:txBody>
          <a:bodyPr wrap="square" rtlCol="0">
            <a:spAutoFit/>
          </a:bodyPr>
          <a:lstStyle/>
          <a:p>
            <a:pPr algn="ctr"/>
            <a:r>
              <a:rPr lang="da-DK" sz="1600" b="1" dirty="0"/>
              <a:t>Vejledning 4a Kontoplan og dimensioner - introduktion</a:t>
            </a:r>
          </a:p>
        </p:txBody>
      </p:sp>
    </p:spTree>
    <p:extLst>
      <p:ext uri="{BB962C8B-B14F-4D97-AF65-F5344CB8AC3E}">
        <p14:creationId xmlns:p14="http://schemas.microsoft.com/office/powerpoint/2010/main" val="27370038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P spid="11" grpId="0" animBg="1"/>
      <p:bldP spid="5"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1">
            <a:extLst>
              <a:ext uri="{FF2B5EF4-FFF2-40B4-BE49-F238E27FC236}">
                <a16:creationId xmlns:a16="http://schemas.microsoft.com/office/drawing/2014/main" id="{A5B05232-A7AE-389D-EA8C-5DC66E37A859}"/>
              </a:ext>
            </a:extLst>
          </p:cNvPr>
          <p:cNvSpPr>
            <a:spLocks noGrp="1"/>
          </p:cNvSpPr>
          <p:nvPr>
            <p:ph type="title"/>
          </p:nvPr>
        </p:nvSpPr>
        <p:spPr/>
        <p:txBody>
          <a:bodyPr/>
          <a:lstStyle/>
          <a:p>
            <a:r>
              <a:rPr lang="da-DK" dirty="0"/>
              <a:t>Demonstration</a:t>
            </a:r>
          </a:p>
        </p:txBody>
      </p:sp>
      <p:sp>
        <p:nvSpPr>
          <p:cNvPr id="4" name="Pladsholder til sidefod 3">
            <a:extLst>
              <a:ext uri="{FF2B5EF4-FFF2-40B4-BE49-F238E27FC236}">
                <a16:creationId xmlns:a16="http://schemas.microsoft.com/office/drawing/2014/main" id="{70C7B388-563F-861C-A3FB-71D8D18891EF}"/>
              </a:ext>
            </a:extLst>
          </p:cNvPr>
          <p:cNvSpPr>
            <a:spLocks noGrp="1"/>
          </p:cNvSpPr>
          <p:nvPr>
            <p:ph type="ftr" sz="quarter" idx="11"/>
          </p:nvPr>
        </p:nvSpPr>
        <p:spPr/>
        <p:txBody>
          <a:bodyPr/>
          <a:lstStyle/>
          <a:p>
            <a:r>
              <a:rPr lang="da-DK"/>
              <a:t>RØDE KORS / Introduktionskursus for nye kasserere / 2025</a:t>
            </a:r>
          </a:p>
        </p:txBody>
      </p:sp>
      <p:pic>
        <p:nvPicPr>
          <p:cNvPr id="5" name="Picture 4" descr="Et billede, der indeholder Font/skrifttype, skærmbillede, Grafik, grafisk design&#10;&#10;Automatisk genereret beskrivelse">
            <a:extLst>
              <a:ext uri="{FF2B5EF4-FFF2-40B4-BE49-F238E27FC236}">
                <a16:creationId xmlns:a16="http://schemas.microsoft.com/office/drawing/2014/main" id="{866BB497-4C27-99F9-BEFD-FA608E2BBBA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34926" b="32361"/>
          <a:stretch/>
        </p:blipFill>
        <p:spPr bwMode="auto">
          <a:xfrm>
            <a:off x="2666998" y="538973"/>
            <a:ext cx="6858000" cy="2303429"/>
          </a:xfrm>
          <a:prstGeom prst="rect">
            <a:avLst/>
          </a:prstGeom>
          <a:noFill/>
          <a:extLst>
            <a:ext uri="{909E8E84-426E-40DD-AFC4-6F175D3DCCD1}">
              <a14:hiddenFill xmlns:a14="http://schemas.microsoft.com/office/drawing/2010/main">
                <a:solidFill>
                  <a:srgbClr val="FFFFFF"/>
                </a:solidFill>
              </a14:hiddenFill>
            </a:ext>
          </a:extLst>
        </p:spPr>
      </p:pic>
      <p:sp>
        <p:nvSpPr>
          <p:cNvPr id="13" name="Rektangel: afrundede hjørner 12">
            <a:extLst>
              <a:ext uri="{FF2B5EF4-FFF2-40B4-BE49-F238E27FC236}">
                <a16:creationId xmlns:a16="http://schemas.microsoft.com/office/drawing/2014/main" id="{B31EF8FF-EEC6-5DB0-56CC-D5F439CCE46E}"/>
              </a:ext>
            </a:extLst>
          </p:cNvPr>
          <p:cNvSpPr/>
          <p:nvPr/>
        </p:nvSpPr>
        <p:spPr>
          <a:xfrm>
            <a:off x="4452937" y="2798440"/>
            <a:ext cx="2957512" cy="1878020"/>
          </a:xfrm>
          <a:prstGeom prst="roundRect">
            <a:avLst>
              <a:gd name="adj" fmla="val 10000"/>
            </a:avLst>
          </a:prstGeom>
          <a:solidFill>
            <a:srgbClr val="5CC4BF"/>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da-DK"/>
          </a:p>
        </p:txBody>
      </p:sp>
      <p:grpSp>
        <p:nvGrpSpPr>
          <p:cNvPr id="14" name="Gruppe 13">
            <a:extLst>
              <a:ext uri="{FF2B5EF4-FFF2-40B4-BE49-F238E27FC236}">
                <a16:creationId xmlns:a16="http://schemas.microsoft.com/office/drawing/2014/main" id="{4D6471A8-9BB8-0344-B6A9-FBC756C512E5}"/>
              </a:ext>
            </a:extLst>
          </p:cNvPr>
          <p:cNvGrpSpPr/>
          <p:nvPr/>
        </p:nvGrpSpPr>
        <p:grpSpPr>
          <a:xfrm>
            <a:off x="4781550" y="3110622"/>
            <a:ext cx="2957512" cy="1878020"/>
            <a:chOff x="3943350" y="1414180"/>
            <a:chExt cx="2957512" cy="1878020"/>
          </a:xfrm>
        </p:grpSpPr>
        <p:sp>
          <p:nvSpPr>
            <p:cNvPr id="15" name="Rektangel: afrundede hjørner 14">
              <a:extLst>
                <a:ext uri="{FF2B5EF4-FFF2-40B4-BE49-F238E27FC236}">
                  <a16:creationId xmlns:a16="http://schemas.microsoft.com/office/drawing/2014/main" id="{0952F745-70BF-3436-9634-5EFF955BDCA6}"/>
                </a:ext>
              </a:extLst>
            </p:cNvPr>
            <p:cNvSpPr/>
            <p:nvPr/>
          </p:nvSpPr>
          <p:spPr>
            <a:xfrm>
              <a:off x="3943350" y="1414180"/>
              <a:ext cx="2957512" cy="1878020"/>
            </a:xfrm>
            <a:prstGeom prst="roundRect">
              <a:avLst>
                <a:gd name="adj" fmla="val 10000"/>
              </a:avLst>
            </a:prstGeom>
            <a:solidFill>
              <a:schemeClr val="lt1">
                <a:hueOff val="0"/>
                <a:satOff val="0"/>
                <a:lumOff val="0"/>
                <a:alpha val="95000"/>
              </a:schemeClr>
            </a:solidFill>
            <a:ln>
              <a:solidFill>
                <a:srgbClr val="5CC4BF"/>
              </a:solid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endParaRPr lang="da-DK"/>
            </a:p>
          </p:txBody>
        </p:sp>
        <p:sp>
          <p:nvSpPr>
            <p:cNvPr id="16" name="Rektangel: afrundede hjørner 5">
              <a:extLst>
                <a:ext uri="{FF2B5EF4-FFF2-40B4-BE49-F238E27FC236}">
                  <a16:creationId xmlns:a16="http://schemas.microsoft.com/office/drawing/2014/main" id="{97B9824C-C3D1-986B-5502-B2CE93CF71C7}"/>
                </a:ext>
              </a:extLst>
            </p:cNvPr>
            <p:cNvSpPr txBox="1"/>
            <p:nvPr/>
          </p:nvSpPr>
          <p:spPr>
            <a:xfrm>
              <a:off x="3998355" y="1469185"/>
              <a:ext cx="2847502" cy="176801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a-DK" sz="1600" b="1" kern="1200" dirty="0">
                  <a:solidFill>
                    <a:srgbClr val="5CC4BF"/>
                  </a:solidFill>
                </a:rPr>
                <a:t>Kontoplan</a:t>
              </a:r>
            </a:p>
            <a:p>
              <a:pPr marL="0" lvl="0" indent="0" algn="ctr" defTabSz="711200">
                <a:lnSpc>
                  <a:spcPct val="90000"/>
                </a:lnSpc>
                <a:spcBef>
                  <a:spcPct val="0"/>
                </a:spcBef>
                <a:spcAft>
                  <a:spcPct val="35000"/>
                </a:spcAft>
                <a:buNone/>
              </a:pPr>
              <a:r>
                <a:rPr lang="da-DK" sz="1600" b="1" kern="1200" dirty="0">
                  <a:solidFill>
                    <a:srgbClr val="5CC4BF"/>
                  </a:solidFill>
                </a:rPr>
                <a:t>med dimensioner</a:t>
              </a:r>
              <a:endParaRPr lang="en-US" sz="1600" b="1" kern="1200" dirty="0">
                <a:solidFill>
                  <a:srgbClr val="5CC4BF"/>
                </a:solidFill>
              </a:endParaRPr>
            </a:p>
          </p:txBody>
        </p:sp>
      </p:grpSp>
      <p:sp>
        <p:nvSpPr>
          <p:cNvPr id="3" name="Tekstfelt 2">
            <a:extLst>
              <a:ext uri="{FF2B5EF4-FFF2-40B4-BE49-F238E27FC236}">
                <a16:creationId xmlns:a16="http://schemas.microsoft.com/office/drawing/2014/main" id="{62127AF1-F358-ED3B-7C37-DDB9BB5448BB}"/>
              </a:ext>
            </a:extLst>
          </p:cNvPr>
          <p:cNvSpPr txBox="1"/>
          <p:nvPr/>
        </p:nvSpPr>
        <p:spPr>
          <a:xfrm>
            <a:off x="2682609" y="5772840"/>
            <a:ext cx="6858000" cy="338554"/>
          </a:xfrm>
          <a:prstGeom prst="rect">
            <a:avLst/>
          </a:prstGeom>
          <a:noFill/>
        </p:spPr>
        <p:txBody>
          <a:bodyPr wrap="square" rtlCol="0">
            <a:spAutoFit/>
          </a:bodyPr>
          <a:lstStyle/>
          <a:p>
            <a:pPr algn="ctr"/>
            <a:r>
              <a:rPr lang="da-DK" sz="1600" b="1" dirty="0"/>
              <a:t>Vejledning 4a Kontoplan og dimensioner - introduktion</a:t>
            </a:r>
          </a:p>
        </p:txBody>
      </p:sp>
    </p:spTree>
    <p:extLst>
      <p:ext uri="{BB962C8B-B14F-4D97-AF65-F5344CB8AC3E}">
        <p14:creationId xmlns:p14="http://schemas.microsoft.com/office/powerpoint/2010/main" val="96624658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lowchart: Process 2">
            <a:extLst>
              <a:ext uri="{FF2B5EF4-FFF2-40B4-BE49-F238E27FC236}">
                <a16:creationId xmlns:a16="http://schemas.microsoft.com/office/drawing/2014/main" id="{6F17F90E-02A5-60E2-4ABA-94CED7E37DAC}"/>
              </a:ext>
            </a:extLst>
          </p:cNvPr>
          <p:cNvSpPr/>
          <p:nvPr/>
        </p:nvSpPr>
        <p:spPr>
          <a:xfrm>
            <a:off x="224365" y="1653611"/>
            <a:ext cx="11707988" cy="4705929"/>
          </a:xfrm>
          <a:prstGeom prst="flowChartProcess">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 name="Title 1">
            <a:extLst>
              <a:ext uri="{FF2B5EF4-FFF2-40B4-BE49-F238E27FC236}">
                <a16:creationId xmlns:a16="http://schemas.microsoft.com/office/drawing/2014/main" id="{92F6208E-9313-B8B5-CA1F-EEF884ECEAF2}"/>
              </a:ext>
            </a:extLst>
          </p:cNvPr>
          <p:cNvSpPr>
            <a:spLocks noGrp="1"/>
          </p:cNvSpPr>
          <p:nvPr>
            <p:ph type="title"/>
          </p:nvPr>
        </p:nvSpPr>
        <p:spPr/>
        <p:txBody>
          <a:bodyPr>
            <a:normAutofit/>
          </a:bodyPr>
          <a:lstStyle/>
          <a:p>
            <a:r>
              <a:rPr lang="en-US" dirty="0" err="1"/>
              <a:t>Kontoplan</a:t>
            </a:r>
            <a:r>
              <a:rPr lang="en-US" dirty="0"/>
              <a:t> med </a:t>
            </a:r>
            <a:r>
              <a:rPr lang="en-US" dirty="0" err="1"/>
              <a:t>dimensioner</a:t>
            </a:r>
            <a:r>
              <a:rPr lang="en-US" dirty="0"/>
              <a:t> – </a:t>
            </a:r>
            <a:r>
              <a:rPr lang="en-US" dirty="0" err="1"/>
              <a:t>matrice-bogføring</a:t>
            </a:r>
            <a:r>
              <a:rPr lang="en-US" dirty="0"/>
              <a:t> 1</a:t>
            </a:r>
            <a:br>
              <a:rPr lang="en-US" dirty="0"/>
            </a:br>
            <a:r>
              <a:rPr lang="da-DK" sz="2000" dirty="0"/>
              <a:t>Indtægtskonti i afdelingskontoplanen:</a:t>
            </a:r>
            <a:endParaRPr lang="da-DK" dirty="0"/>
          </a:p>
        </p:txBody>
      </p:sp>
      <p:sp>
        <p:nvSpPr>
          <p:cNvPr id="4" name="Footer Placeholder 3">
            <a:extLst>
              <a:ext uri="{FF2B5EF4-FFF2-40B4-BE49-F238E27FC236}">
                <a16:creationId xmlns:a16="http://schemas.microsoft.com/office/drawing/2014/main" id="{FBD1EC97-73EF-4D01-A213-909B894A20A1}"/>
              </a:ext>
            </a:extLst>
          </p:cNvPr>
          <p:cNvSpPr>
            <a:spLocks noGrp="1"/>
          </p:cNvSpPr>
          <p:nvPr>
            <p:ph type="ftr" sz="quarter" idx="11"/>
          </p:nvPr>
        </p:nvSpPr>
        <p:spPr>
          <a:xfrm>
            <a:off x="838199" y="6398603"/>
            <a:ext cx="10515599" cy="237600"/>
          </a:xfrm>
        </p:spPr>
        <p:txBody>
          <a:bodyPr/>
          <a:lstStyle/>
          <a:p>
            <a:r>
              <a:rPr lang="da-DK"/>
              <a:t>RØDE KORS / Introduktionskursus for nye kasserere / 2025</a:t>
            </a:r>
          </a:p>
        </p:txBody>
      </p:sp>
      <p:pic>
        <p:nvPicPr>
          <p:cNvPr id="5" name="Billede 4">
            <a:extLst>
              <a:ext uri="{FF2B5EF4-FFF2-40B4-BE49-F238E27FC236}">
                <a16:creationId xmlns:a16="http://schemas.microsoft.com/office/drawing/2014/main" id="{D93FB5CE-9C45-5DDB-3055-F71AC20DB351}"/>
              </a:ext>
            </a:extLst>
          </p:cNvPr>
          <p:cNvPicPr>
            <a:picLocks noChangeAspect="1"/>
          </p:cNvPicPr>
          <p:nvPr/>
        </p:nvPicPr>
        <p:blipFill>
          <a:blip r:embed="rId3"/>
          <a:stretch>
            <a:fillRect/>
          </a:stretch>
        </p:blipFill>
        <p:spPr>
          <a:xfrm>
            <a:off x="2361769" y="1700419"/>
            <a:ext cx="7468457" cy="4577715"/>
          </a:xfrm>
          <a:prstGeom prst="rect">
            <a:avLst/>
          </a:prstGeom>
        </p:spPr>
      </p:pic>
    </p:spTree>
    <p:extLst>
      <p:ext uri="{BB962C8B-B14F-4D97-AF65-F5344CB8AC3E}">
        <p14:creationId xmlns:p14="http://schemas.microsoft.com/office/powerpoint/2010/main" val="390432394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lowchart: Process 2">
            <a:extLst>
              <a:ext uri="{FF2B5EF4-FFF2-40B4-BE49-F238E27FC236}">
                <a16:creationId xmlns:a16="http://schemas.microsoft.com/office/drawing/2014/main" id="{4DA3FD98-D36F-453F-4395-0F8DFF83938F}"/>
              </a:ext>
            </a:extLst>
          </p:cNvPr>
          <p:cNvSpPr/>
          <p:nvPr/>
        </p:nvSpPr>
        <p:spPr>
          <a:xfrm>
            <a:off x="224365" y="1554834"/>
            <a:ext cx="11707988" cy="4839983"/>
          </a:xfrm>
          <a:prstGeom prst="flowChartProcess">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 name="Title 1">
            <a:extLst>
              <a:ext uri="{FF2B5EF4-FFF2-40B4-BE49-F238E27FC236}">
                <a16:creationId xmlns:a16="http://schemas.microsoft.com/office/drawing/2014/main" id="{92F6208E-9313-B8B5-CA1F-EEF884ECEAF2}"/>
              </a:ext>
            </a:extLst>
          </p:cNvPr>
          <p:cNvSpPr>
            <a:spLocks noGrp="1"/>
          </p:cNvSpPr>
          <p:nvPr>
            <p:ph type="title"/>
          </p:nvPr>
        </p:nvSpPr>
        <p:spPr/>
        <p:txBody>
          <a:bodyPr/>
          <a:lstStyle/>
          <a:p>
            <a:r>
              <a:rPr lang="en-US" dirty="0" err="1"/>
              <a:t>Kontoplan</a:t>
            </a:r>
            <a:r>
              <a:rPr lang="en-US" dirty="0"/>
              <a:t> med </a:t>
            </a:r>
            <a:r>
              <a:rPr lang="en-US" dirty="0" err="1"/>
              <a:t>dimensioner</a:t>
            </a:r>
            <a:r>
              <a:rPr lang="en-US" dirty="0"/>
              <a:t> – </a:t>
            </a:r>
            <a:r>
              <a:rPr lang="en-US" dirty="0" err="1"/>
              <a:t>matrice-bogføring</a:t>
            </a:r>
            <a:r>
              <a:rPr lang="en-US" dirty="0"/>
              <a:t> 2</a:t>
            </a:r>
            <a:br>
              <a:rPr lang="en-US" dirty="0"/>
            </a:br>
            <a:r>
              <a:rPr lang="da-DK" sz="2000" dirty="0">
                <a:ea typeface="Verdana"/>
              </a:rPr>
              <a:t>Udsnit af udgiftskonti </a:t>
            </a:r>
            <a:r>
              <a:rPr lang="da-DK" sz="2000" dirty="0"/>
              <a:t>i afdelingskontoplanen</a:t>
            </a:r>
            <a:r>
              <a:rPr lang="da-DK" sz="2000" dirty="0">
                <a:ea typeface="Verdana"/>
              </a:rPr>
              <a:t>:</a:t>
            </a:r>
            <a:endParaRPr lang="en-US" sz="2000" dirty="0">
              <a:ea typeface="Verdana"/>
            </a:endParaRPr>
          </a:p>
          <a:p>
            <a:endParaRPr lang="en-US" dirty="0"/>
          </a:p>
        </p:txBody>
      </p:sp>
      <p:sp>
        <p:nvSpPr>
          <p:cNvPr id="4" name="Footer Placeholder 3">
            <a:extLst>
              <a:ext uri="{FF2B5EF4-FFF2-40B4-BE49-F238E27FC236}">
                <a16:creationId xmlns:a16="http://schemas.microsoft.com/office/drawing/2014/main" id="{FBD1EC97-73EF-4D01-A213-909B894A20A1}"/>
              </a:ext>
            </a:extLst>
          </p:cNvPr>
          <p:cNvSpPr>
            <a:spLocks noGrp="1"/>
          </p:cNvSpPr>
          <p:nvPr>
            <p:ph type="ftr" sz="quarter" idx="11"/>
          </p:nvPr>
        </p:nvSpPr>
        <p:spPr>
          <a:xfrm>
            <a:off x="838199" y="6398603"/>
            <a:ext cx="10515599" cy="237600"/>
          </a:xfrm>
        </p:spPr>
        <p:txBody>
          <a:bodyPr/>
          <a:lstStyle/>
          <a:p>
            <a:r>
              <a:rPr lang="da-DK"/>
              <a:t>RØDE KORS / Introduktionskursus for nye kasserere / 2025</a:t>
            </a:r>
          </a:p>
        </p:txBody>
      </p:sp>
      <p:pic>
        <p:nvPicPr>
          <p:cNvPr id="7" name="Billede 6">
            <a:extLst>
              <a:ext uri="{FF2B5EF4-FFF2-40B4-BE49-F238E27FC236}">
                <a16:creationId xmlns:a16="http://schemas.microsoft.com/office/drawing/2014/main" id="{632D94A4-FF6A-0C5B-454D-B1A7BABBEFF6}"/>
              </a:ext>
            </a:extLst>
          </p:cNvPr>
          <p:cNvPicPr>
            <a:picLocks noChangeAspect="1"/>
          </p:cNvPicPr>
          <p:nvPr/>
        </p:nvPicPr>
        <p:blipFill>
          <a:blip r:embed="rId3"/>
          <a:stretch>
            <a:fillRect/>
          </a:stretch>
        </p:blipFill>
        <p:spPr>
          <a:xfrm>
            <a:off x="2819398" y="1662466"/>
            <a:ext cx="6553200" cy="4678680"/>
          </a:xfrm>
          <a:prstGeom prst="rect">
            <a:avLst/>
          </a:prstGeom>
        </p:spPr>
      </p:pic>
    </p:spTree>
    <p:extLst>
      <p:ext uri="{BB962C8B-B14F-4D97-AF65-F5344CB8AC3E}">
        <p14:creationId xmlns:p14="http://schemas.microsoft.com/office/powerpoint/2010/main" val="417940895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lowchart: Process 2">
            <a:extLst>
              <a:ext uri="{FF2B5EF4-FFF2-40B4-BE49-F238E27FC236}">
                <a16:creationId xmlns:a16="http://schemas.microsoft.com/office/drawing/2014/main" id="{EDD4ACD6-9010-09C7-CD96-2DE55569B9C5}"/>
              </a:ext>
            </a:extLst>
          </p:cNvPr>
          <p:cNvSpPr/>
          <p:nvPr/>
        </p:nvSpPr>
        <p:spPr>
          <a:xfrm>
            <a:off x="224365" y="1583056"/>
            <a:ext cx="11707988" cy="4776484"/>
          </a:xfrm>
          <a:prstGeom prst="flowChartProcess">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 name="Title 1">
            <a:extLst>
              <a:ext uri="{FF2B5EF4-FFF2-40B4-BE49-F238E27FC236}">
                <a16:creationId xmlns:a16="http://schemas.microsoft.com/office/drawing/2014/main" id="{92F6208E-9313-B8B5-CA1F-EEF884ECEAF2}"/>
              </a:ext>
            </a:extLst>
          </p:cNvPr>
          <p:cNvSpPr>
            <a:spLocks noGrp="1"/>
          </p:cNvSpPr>
          <p:nvPr>
            <p:ph type="title"/>
          </p:nvPr>
        </p:nvSpPr>
        <p:spPr/>
        <p:txBody>
          <a:bodyPr/>
          <a:lstStyle/>
          <a:p>
            <a:r>
              <a:rPr lang="en-US" err="1"/>
              <a:t>Kontoplan</a:t>
            </a:r>
            <a:r>
              <a:rPr lang="en-US"/>
              <a:t> med </a:t>
            </a:r>
            <a:r>
              <a:rPr lang="en-US" err="1"/>
              <a:t>dimensioner</a:t>
            </a:r>
            <a:r>
              <a:rPr lang="en-US"/>
              <a:t> – </a:t>
            </a:r>
            <a:r>
              <a:rPr lang="en-US" err="1"/>
              <a:t>matrice-bogføring</a:t>
            </a:r>
            <a:r>
              <a:rPr lang="en-US"/>
              <a:t> 3</a:t>
            </a:r>
            <a:br>
              <a:rPr lang="en-US"/>
            </a:br>
            <a:r>
              <a:rPr lang="da-DK" sz="2000">
                <a:ea typeface="Verdana"/>
              </a:rPr>
              <a:t>Eksempel på dimensioner for Aktiviteter og Midler</a:t>
            </a:r>
            <a:endParaRPr lang="en-US" sz="2000">
              <a:ea typeface="Verdana"/>
            </a:endParaRPr>
          </a:p>
          <a:p>
            <a:endParaRPr lang="en-US"/>
          </a:p>
        </p:txBody>
      </p:sp>
      <p:sp>
        <p:nvSpPr>
          <p:cNvPr id="4" name="Footer Placeholder 3">
            <a:extLst>
              <a:ext uri="{FF2B5EF4-FFF2-40B4-BE49-F238E27FC236}">
                <a16:creationId xmlns:a16="http://schemas.microsoft.com/office/drawing/2014/main" id="{FBD1EC97-73EF-4D01-A213-909B894A20A1}"/>
              </a:ext>
            </a:extLst>
          </p:cNvPr>
          <p:cNvSpPr>
            <a:spLocks noGrp="1"/>
          </p:cNvSpPr>
          <p:nvPr>
            <p:ph type="ftr" sz="quarter" idx="11"/>
          </p:nvPr>
        </p:nvSpPr>
        <p:spPr>
          <a:xfrm>
            <a:off x="838199" y="6398603"/>
            <a:ext cx="10515599" cy="237600"/>
          </a:xfrm>
        </p:spPr>
        <p:txBody>
          <a:bodyPr/>
          <a:lstStyle/>
          <a:p>
            <a:r>
              <a:rPr lang="da-DK"/>
              <a:t>RØDE KORS / Introduktionskursus for nye kasserere / 2025</a:t>
            </a:r>
          </a:p>
        </p:txBody>
      </p:sp>
      <p:pic>
        <p:nvPicPr>
          <p:cNvPr id="5" name="Billede 4">
            <a:extLst>
              <a:ext uri="{FF2B5EF4-FFF2-40B4-BE49-F238E27FC236}">
                <a16:creationId xmlns:a16="http://schemas.microsoft.com/office/drawing/2014/main" id="{BFC90B8C-6C76-1C7E-6CB3-BF2E6C06FBD5}"/>
              </a:ext>
            </a:extLst>
          </p:cNvPr>
          <p:cNvPicPr>
            <a:picLocks noChangeAspect="1"/>
          </p:cNvPicPr>
          <p:nvPr/>
        </p:nvPicPr>
        <p:blipFill>
          <a:blip r:embed="rId3"/>
          <a:stretch>
            <a:fillRect/>
          </a:stretch>
        </p:blipFill>
        <p:spPr>
          <a:xfrm>
            <a:off x="736685" y="1759192"/>
            <a:ext cx="6612488" cy="4429794"/>
          </a:xfrm>
          <a:prstGeom prst="rect">
            <a:avLst/>
          </a:prstGeom>
        </p:spPr>
      </p:pic>
      <p:pic>
        <p:nvPicPr>
          <p:cNvPr id="10" name="Billede 9">
            <a:extLst>
              <a:ext uri="{FF2B5EF4-FFF2-40B4-BE49-F238E27FC236}">
                <a16:creationId xmlns:a16="http://schemas.microsoft.com/office/drawing/2014/main" id="{5F033CFD-3C55-8E9B-4D17-E8D66D843470}"/>
              </a:ext>
            </a:extLst>
          </p:cNvPr>
          <p:cNvPicPr>
            <a:picLocks noChangeAspect="1"/>
          </p:cNvPicPr>
          <p:nvPr/>
        </p:nvPicPr>
        <p:blipFill>
          <a:blip r:embed="rId4"/>
          <a:stretch>
            <a:fillRect/>
          </a:stretch>
        </p:blipFill>
        <p:spPr>
          <a:xfrm>
            <a:off x="8047535" y="2955281"/>
            <a:ext cx="3771614" cy="1908143"/>
          </a:xfrm>
          <a:prstGeom prst="rect">
            <a:avLst/>
          </a:prstGeom>
        </p:spPr>
      </p:pic>
      <p:pic>
        <p:nvPicPr>
          <p:cNvPr id="6" name="Billede 5" descr="Et billede, der indeholder tekst, skærmbillede, nummer/tal, Font/skrifttype&#10;&#10;Indhold genereret af kunstig intelligens kan være forkert.">
            <a:extLst>
              <a:ext uri="{FF2B5EF4-FFF2-40B4-BE49-F238E27FC236}">
                <a16:creationId xmlns:a16="http://schemas.microsoft.com/office/drawing/2014/main" id="{BBC180C2-F580-D644-E780-58D9F5D0613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40115" y="1759192"/>
            <a:ext cx="7607944" cy="4408270"/>
          </a:xfrm>
          <a:prstGeom prst="rect">
            <a:avLst/>
          </a:prstGeom>
        </p:spPr>
      </p:pic>
    </p:spTree>
    <p:extLst>
      <p:ext uri="{BB962C8B-B14F-4D97-AF65-F5344CB8AC3E}">
        <p14:creationId xmlns:p14="http://schemas.microsoft.com/office/powerpoint/2010/main" val="331908832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B79144-8614-94BE-CC95-43DE5C3603D9}"/>
              </a:ext>
            </a:extLst>
          </p:cNvPr>
          <p:cNvSpPr>
            <a:spLocks noGrp="1"/>
          </p:cNvSpPr>
          <p:nvPr>
            <p:ph type="title"/>
          </p:nvPr>
        </p:nvSpPr>
        <p:spPr/>
        <p:txBody>
          <a:bodyPr/>
          <a:lstStyle/>
          <a:p>
            <a:r>
              <a:rPr lang="en-US" dirty="0" err="1"/>
              <a:t>Dagsorden</a:t>
            </a:r>
            <a:r>
              <a:rPr lang="en-US" dirty="0"/>
              <a:t> for Uniconta </a:t>
            </a:r>
            <a:r>
              <a:rPr lang="en-US" dirty="0" err="1"/>
              <a:t>grundkursus</a:t>
            </a:r>
            <a:endParaRPr lang="da-DK" dirty="0"/>
          </a:p>
        </p:txBody>
      </p:sp>
      <p:sp>
        <p:nvSpPr>
          <p:cNvPr id="4" name="Footer Placeholder 3">
            <a:extLst>
              <a:ext uri="{FF2B5EF4-FFF2-40B4-BE49-F238E27FC236}">
                <a16:creationId xmlns:a16="http://schemas.microsoft.com/office/drawing/2014/main" id="{4A9CE40A-7C32-9C2F-E7E8-BD0513CE314F}"/>
              </a:ext>
            </a:extLst>
          </p:cNvPr>
          <p:cNvSpPr>
            <a:spLocks noGrp="1"/>
          </p:cNvSpPr>
          <p:nvPr>
            <p:ph type="ftr" sz="quarter" idx="11"/>
          </p:nvPr>
        </p:nvSpPr>
        <p:spPr>
          <a:xfrm>
            <a:off x="838198" y="6377159"/>
            <a:ext cx="10515599" cy="237600"/>
          </a:xfrm>
        </p:spPr>
        <p:txBody>
          <a:bodyPr/>
          <a:lstStyle/>
          <a:p>
            <a:r>
              <a:rPr lang="da-DK" dirty="0"/>
              <a:t>RØDE KORS / Introduktionskursus for nye kasserere / 2025</a:t>
            </a:r>
          </a:p>
        </p:txBody>
      </p:sp>
      <p:sp>
        <p:nvSpPr>
          <p:cNvPr id="7" name="Ellipse 6">
            <a:extLst>
              <a:ext uri="{FF2B5EF4-FFF2-40B4-BE49-F238E27FC236}">
                <a16:creationId xmlns:a16="http://schemas.microsoft.com/office/drawing/2014/main" id="{300CC8E1-67F8-5867-16A5-F657C18FFE44}"/>
              </a:ext>
            </a:extLst>
          </p:cNvPr>
          <p:cNvSpPr/>
          <p:nvPr/>
        </p:nvSpPr>
        <p:spPr>
          <a:xfrm>
            <a:off x="3604870" y="1305680"/>
            <a:ext cx="490880" cy="468782"/>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a-DK">
                <a:latin typeface="+mj-lt"/>
                <a:ea typeface="Verdana"/>
              </a:rPr>
              <a:t>1</a:t>
            </a:r>
            <a:endParaRPr lang="da-DK">
              <a:latin typeface="+mj-lt"/>
            </a:endParaRPr>
          </a:p>
        </p:txBody>
      </p:sp>
      <p:sp>
        <p:nvSpPr>
          <p:cNvPr id="8" name="Ellipse 7">
            <a:extLst>
              <a:ext uri="{FF2B5EF4-FFF2-40B4-BE49-F238E27FC236}">
                <a16:creationId xmlns:a16="http://schemas.microsoft.com/office/drawing/2014/main" id="{CF090206-B677-AD14-766B-5FA10F4C214F}"/>
              </a:ext>
            </a:extLst>
          </p:cNvPr>
          <p:cNvSpPr/>
          <p:nvPr/>
        </p:nvSpPr>
        <p:spPr>
          <a:xfrm>
            <a:off x="3604870" y="1887097"/>
            <a:ext cx="490880" cy="468782"/>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a-DK">
                <a:latin typeface="+mj-lt"/>
                <a:ea typeface="Verdana"/>
              </a:rPr>
              <a:t>2</a:t>
            </a:r>
            <a:endParaRPr lang="da-DK">
              <a:latin typeface="+mj-lt"/>
            </a:endParaRPr>
          </a:p>
        </p:txBody>
      </p:sp>
      <p:sp>
        <p:nvSpPr>
          <p:cNvPr id="9" name="Ellipse 8">
            <a:extLst>
              <a:ext uri="{FF2B5EF4-FFF2-40B4-BE49-F238E27FC236}">
                <a16:creationId xmlns:a16="http://schemas.microsoft.com/office/drawing/2014/main" id="{ABB0886C-695F-E8C1-7ECA-296F7E3A782D}"/>
              </a:ext>
            </a:extLst>
          </p:cNvPr>
          <p:cNvSpPr/>
          <p:nvPr/>
        </p:nvSpPr>
        <p:spPr>
          <a:xfrm>
            <a:off x="3604870" y="2468514"/>
            <a:ext cx="490880" cy="468782"/>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a-DK">
                <a:latin typeface="+mj-lt"/>
                <a:ea typeface="Verdana"/>
              </a:rPr>
              <a:t>3</a:t>
            </a:r>
            <a:endParaRPr lang="da-DK">
              <a:latin typeface="+mj-lt"/>
            </a:endParaRPr>
          </a:p>
        </p:txBody>
      </p:sp>
      <p:sp>
        <p:nvSpPr>
          <p:cNvPr id="10" name="Ellipse 9">
            <a:extLst>
              <a:ext uri="{FF2B5EF4-FFF2-40B4-BE49-F238E27FC236}">
                <a16:creationId xmlns:a16="http://schemas.microsoft.com/office/drawing/2014/main" id="{6585A3EF-90FE-58C6-A6DA-EE88561E8C23}"/>
              </a:ext>
            </a:extLst>
          </p:cNvPr>
          <p:cNvSpPr/>
          <p:nvPr/>
        </p:nvSpPr>
        <p:spPr>
          <a:xfrm>
            <a:off x="3604870" y="3049931"/>
            <a:ext cx="490880" cy="468782"/>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a-DK">
                <a:latin typeface="+mj-lt"/>
                <a:ea typeface="Verdana"/>
              </a:rPr>
              <a:t>4</a:t>
            </a:r>
            <a:endParaRPr lang="da-DK">
              <a:latin typeface="+mj-lt"/>
            </a:endParaRPr>
          </a:p>
        </p:txBody>
      </p:sp>
      <p:sp>
        <p:nvSpPr>
          <p:cNvPr id="11" name="Rectangle 6">
            <a:extLst>
              <a:ext uri="{FF2B5EF4-FFF2-40B4-BE49-F238E27FC236}">
                <a16:creationId xmlns:a16="http://schemas.microsoft.com/office/drawing/2014/main" id="{DB70E1C4-9D8E-1E39-D5B4-D181BE3E0A8D}"/>
              </a:ext>
            </a:extLst>
          </p:cNvPr>
          <p:cNvSpPr/>
          <p:nvPr/>
        </p:nvSpPr>
        <p:spPr>
          <a:xfrm>
            <a:off x="4213251" y="1305680"/>
            <a:ext cx="5947562" cy="46878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a-DK" sz="1400" b="1" dirty="0">
                <a:solidFill>
                  <a:schemeClr val="tx1"/>
                </a:solidFill>
                <a:latin typeface="+mj-lt"/>
              </a:rPr>
              <a:t>Dagsorden</a:t>
            </a:r>
          </a:p>
        </p:txBody>
      </p:sp>
      <p:sp>
        <p:nvSpPr>
          <p:cNvPr id="15" name="Ellipse 14">
            <a:extLst>
              <a:ext uri="{FF2B5EF4-FFF2-40B4-BE49-F238E27FC236}">
                <a16:creationId xmlns:a16="http://schemas.microsoft.com/office/drawing/2014/main" id="{05FF262F-5DAE-C875-3EC6-37D016A12AB2}"/>
              </a:ext>
            </a:extLst>
          </p:cNvPr>
          <p:cNvSpPr/>
          <p:nvPr/>
        </p:nvSpPr>
        <p:spPr>
          <a:xfrm>
            <a:off x="3604870" y="3631348"/>
            <a:ext cx="490880" cy="468782"/>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a-DK">
                <a:latin typeface="+mj-lt"/>
                <a:ea typeface="Verdana"/>
              </a:rPr>
              <a:t>5</a:t>
            </a:r>
            <a:endParaRPr lang="da-DK">
              <a:latin typeface="+mj-lt"/>
            </a:endParaRPr>
          </a:p>
        </p:txBody>
      </p:sp>
      <p:sp>
        <p:nvSpPr>
          <p:cNvPr id="16" name="Ellipse 15">
            <a:extLst>
              <a:ext uri="{FF2B5EF4-FFF2-40B4-BE49-F238E27FC236}">
                <a16:creationId xmlns:a16="http://schemas.microsoft.com/office/drawing/2014/main" id="{EF594250-6A50-EFDA-CC0C-6B6365D93F73}"/>
              </a:ext>
            </a:extLst>
          </p:cNvPr>
          <p:cNvSpPr/>
          <p:nvPr/>
        </p:nvSpPr>
        <p:spPr>
          <a:xfrm>
            <a:off x="3604870" y="4212765"/>
            <a:ext cx="490880" cy="468782"/>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a-DK">
                <a:latin typeface="+mj-lt"/>
                <a:ea typeface="Verdana"/>
              </a:rPr>
              <a:t>6</a:t>
            </a:r>
            <a:endParaRPr lang="da-DK">
              <a:latin typeface="+mj-lt"/>
            </a:endParaRPr>
          </a:p>
        </p:txBody>
      </p:sp>
      <p:sp>
        <p:nvSpPr>
          <p:cNvPr id="17" name="Ellipse 16">
            <a:extLst>
              <a:ext uri="{FF2B5EF4-FFF2-40B4-BE49-F238E27FC236}">
                <a16:creationId xmlns:a16="http://schemas.microsoft.com/office/drawing/2014/main" id="{92A2627A-17CB-1DE3-C63A-CE8FE0CD5583}"/>
              </a:ext>
            </a:extLst>
          </p:cNvPr>
          <p:cNvSpPr/>
          <p:nvPr/>
        </p:nvSpPr>
        <p:spPr>
          <a:xfrm>
            <a:off x="3604870" y="4794182"/>
            <a:ext cx="490880" cy="468782"/>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a-DK">
                <a:latin typeface="+mj-lt"/>
                <a:ea typeface="Verdana"/>
              </a:rPr>
              <a:t>7</a:t>
            </a:r>
            <a:endParaRPr lang="da-DK">
              <a:latin typeface="+mj-lt"/>
            </a:endParaRPr>
          </a:p>
        </p:txBody>
      </p:sp>
      <p:sp>
        <p:nvSpPr>
          <p:cNvPr id="20" name="Rectangle 6">
            <a:extLst>
              <a:ext uri="{FF2B5EF4-FFF2-40B4-BE49-F238E27FC236}">
                <a16:creationId xmlns:a16="http://schemas.microsoft.com/office/drawing/2014/main" id="{3436AB47-661C-09BD-0D6E-FB9C76AFD538}"/>
              </a:ext>
            </a:extLst>
          </p:cNvPr>
          <p:cNvSpPr/>
          <p:nvPr/>
        </p:nvSpPr>
        <p:spPr>
          <a:xfrm>
            <a:off x="4213251" y="1887097"/>
            <a:ext cx="5947562" cy="46878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a-DK" sz="1400" b="1" dirty="0">
                <a:solidFill>
                  <a:schemeClr val="tx1"/>
                </a:solidFill>
                <a:latin typeface="+mj-lt"/>
              </a:rPr>
              <a:t>Præsentation - Afdelingsregnskab og deltagere</a:t>
            </a:r>
          </a:p>
        </p:txBody>
      </p:sp>
      <p:sp>
        <p:nvSpPr>
          <p:cNvPr id="21" name="Rectangle 6">
            <a:extLst>
              <a:ext uri="{FF2B5EF4-FFF2-40B4-BE49-F238E27FC236}">
                <a16:creationId xmlns:a16="http://schemas.microsoft.com/office/drawing/2014/main" id="{8BF91DF9-24D3-6A78-30E8-74A60651F9C6}"/>
              </a:ext>
            </a:extLst>
          </p:cNvPr>
          <p:cNvSpPr/>
          <p:nvPr/>
        </p:nvSpPr>
        <p:spPr>
          <a:xfrm>
            <a:off x="4213251" y="4212765"/>
            <a:ext cx="5947562" cy="46878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a-DK" sz="1400" b="1" dirty="0">
                <a:solidFill>
                  <a:schemeClr val="tx1"/>
                </a:solidFill>
                <a:latin typeface="+mj-lt"/>
              </a:rPr>
              <a:t>Regnskabssystem	</a:t>
            </a:r>
          </a:p>
        </p:txBody>
      </p:sp>
      <p:sp>
        <p:nvSpPr>
          <p:cNvPr id="22" name="Rectangle 6">
            <a:extLst>
              <a:ext uri="{FF2B5EF4-FFF2-40B4-BE49-F238E27FC236}">
                <a16:creationId xmlns:a16="http://schemas.microsoft.com/office/drawing/2014/main" id="{C6E3AC07-C5CE-2415-E7E5-866D0C59EF0F}"/>
              </a:ext>
            </a:extLst>
          </p:cNvPr>
          <p:cNvSpPr/>
          <p:nvPr/>
        </p:nvSpPr>
        <p:spPr>
          <a:xfrm>
            <a:off x="4213251" y="3623327"/>
            <a:ext cx="5947562" cy="46878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a-DK" sz="1400" b="1" dirty="0">
                <a:solidFill>
                  <a:schemeClr val="tx1"/>
                </a:solidFill>
                <a:latin typeface="+mj-lt"/>
              </a:rPr>
              <a:t>Økonomien i en Røde Kors-afdeling</a:t>
            </a:r>
          </a:p>
        </p:txBody>
      </p:sp>
      <p:sp>
        <p:nvSpPr>
          <p:cNvPr id="23" name="Rectangle 6">
            <a:extLst>
              <a:ext uri="{FF2B5EF4-FFF2-40B4-BE49-F238E27FC236}">
                <a16:creationId xmlns:a16="http://schemas.microsoft.com/office/drawing/2014/main" id="{20EE0CCA-CD3A-5D78-2AD9-045F9AF9A2A5}"/>
              </a:ext>
            </a:extLst>
          </p:cNvPr>
          <p:cNvSpPr/>
          <p:nvPr/>
        </p:nvSpPr>
        <p:spPr>
          <a:xfrm>
            <a:off x="4213251" y="3049931"/>
            <a:ext cx="5947562" cy="46878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a-DK" sz="1400" b="1" dirty="0">
                <a:solidFill>
                  <a:schemeClr val="tx1"/>
                </a:solidFill>
                <a:latin typeface="+mj-lt"/>
              </a:rPr>
              <a:t>Kassererrollen</a:t>
            </a:r>
          </a:p>
        </p:txBody>
      </p:sp>
      <p:sp>
        <p:nvSpPr>
          <p:cNvPr id="24" name="Rectangle 6">
            <a:extLst>
              <a:ext uri="{FF2B5EF4-FFF2-40B4-BE49-F238E27FC236}">
                <a16:creationId xmlns:a16="http://schemas.microsoft.com/office/drawing/2014/main" id="{8B9236FC-448C-769C-0C1A-9202E54170FC}"/>
              </a:ext>
            </a:extLst>
          </p:cNvPr>
          <p:cNvSpPr/>
          <p:nvPr/>
        </p:nvSpPr>
        <p:spPr>
          <a:xfrm>
            <a:off x="4213251" y="2468514"/>
            <a:ext cx="5947562" cy="46878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a-DK" sz="1400" b="1" dirty="0">
                <a:solidFill>
                  <a:schemeClr val="tx1"/>
                </a:solidFill>
                <a:latin typeface="+mj-lt"/>
              </a:rPr>
              <a:t>Økonomien i Røde Kors</a:t>
            </a:r>
          </a:p>
        </p:txBody>
      </p:sp>
      <p:sp>
        <p:nvSpPr>
          <p:cNvPr id="25" name="Rectangle 6">
            <a:extLst>
              <a:ext uri="{FF2B5EF4-FFF2-40B4-BE49-F238E27FC236}">
                <a16:creationId xmlns:a16="http://schemas.microsoft.com/office/drawing/2014/main" id="{3A55B371-BC71-9001-1887-65C6BABB9F13}"/>
              </a:ext>
            </a:extLst>
          </p:cNvPr>
          <p:cNvSpPr/>
          <p:nvPr/>
        </p:nvSpPr>
        <p:spPr>
          <a:xfrm>
            <a:off x="4213251" y="4773603"/>
            <a:ext cx="5947562" cy="46878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a-DK" sz="1400" b="1" dirty="0">
                <a:solidFill>
                  <a:schemeClr val="tx1"/>
                </a:solidFill>
                <a:latin typeface="+mj-lt"/>
              </a:rPr>
              <a:t>Bogføring i Uniconta</a:t>
            </a:r>
          </a:p>
        </p:txBody>
      </p:sp>
      <p:sp>
        <p:nvSpPr>
          <p:cNvPr id="12" name="Billedforklaring: højrepil 11">
            <a:extLst>
              <a:ext uri="{FF2B5EF4-FFF2-40B4-BE49-F238E27FC236}">
                <a16:creationId xmlns:a16="http://schemas.microsoft.com/office/drawing/2014/main" id="{2CDF1DA2-F04E-10B5-551E-16791B85C06A}"/>
              </a:ext>
            </a:extLst>
          </p:cNvPr>
          <p:cNvSpPr/>
          <p:nvPr/>
        </p:nvSpPr>
        <p:spPr>
          <a:xfrm>
            <a:off x="787470" y="3301890"/>
            <a:ext cx="2707921" cy="2325668"/>
          </a:xfrm>
          <a:prstGeom prst="rightArrowCallout">
            <a:avLst>
              <a:gd name="adj1" fmla="val 3923"/>
              <a:gd name="adj2" fmla="val 5892"/>
              <a:gd name="adj3" fmla="val 8841"/>
              <a:gd name="adj4" fmla="val 80935"/>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36000" bIns="45720" rtlCol="0" anchor="ctr"/>
          <a:lstStyle/>
          <a:p>
            <a:pPr marL="216000" lvl="1" indent="-171450">
              <a:lnSpc>
                <a:spcPct val="150000"/>
              </a:lnSpc>
              <a:buFont typeface="Arial"/>
              <a:buChar char="•"/>
            </a:pPr>
            <a:r>
              <a:rPr lang="da-DK" sz="1050" b="1" dirty="0"/>
              <a:t>Regnskab </a:t>
            </a:r>
            <a:r>
              <a:rPr lang="da-DK" sz="1050" dirty="0"/>
              <a:t>generelt</a:t>
            </a:r>
            <a:br>
              <a:rPr lang="da-DK" sz="1050" dirty="0"/>
            </a:br>
            <a:endParaRPr lang="da-DK" sz="500" dirty="0">
              <a:ea typeface="Verdana"/>
            </a:endParaRPr>
          </a:p>
          <a:p>
            <a:pPr marL="216000" lvl="1" indent="-171450">
              <a:lnSpc>
                <a:spcPct val="150000"/>
              </a:lnSpc>
              <a:buFont typeface="Arial"/>
              <a:buChar char="•"/>
            </a:pPr>
            <a:r>
              <a:rPr lang="da-DK" sz="1050" b="1" dirty="0"/>
              <a:t>Kontoplan </a:t>
            </a:r>
            <a:r>
              <a:rPr lang="da-DK" sz="1050" dirty="0"/>
              <a:t>med dimensioner</a:t>
            </a:r>
            <a:endParaRPr lang="da-DK" sz="900" dirty="0">
              <a:ea typeface="Verdana"/>
            </a:endParaRPr>
          </a:p>
          <a:p>
            <a:pPr marL="216000" lvl="1" indent="-171450">
              <a:lnSpc>
                <a:spcPct val="150000"/>
              </a:lnSpc>
              <a:buFont typeface="Arial"/>
              <a:buChar char="•"/>
            </a:pPr>
            <a:endParaRPr lang="da-DK" sz="500" dirty="0">
              <a:ea typeface="Verdana"/>
            </a:endParaRPr>
          </a:p>
          <a:p>
            <a:pPr marL="216000" lvl="1" indent="-171450">
              <a:lnSpc>
                <a:spcPct val="150000"/>
              </a:lnSpc>
              <a:buFont typeface="Arial"/>
              <a:buChar char="•"/>
            </a:pPr>
            <a:r>
              <a:rPr lang="da-DK" sz="1050" b="1" dirty="0"/>
              <a:t>Opsætning af Uniconta</a:t>
            </a:r>
            <a:r>
              <a:rPr lang="da-DK" sz="1050" dirty="0"/>
              <a:t> </a:t>
            </a:r>
            <a:r>
              <a:rPr lang="da-DK" sz="900" dirty="0"/>
              <a:t>(kontoplan, dimensioner og firmaoplysninger)</a:t>
            </a:r>
            <a:br>
              <a:rPr lang="da-DK" sz="1050" dirty="0"/>
            </a:br>
            <a:endParaRPr lang="da-DK" sz="500" dirty="0">
              <a:ea typeface="Verdana"/>
            </a:endParaRPr>
          </a:p>
          <a:p>
            <a:pPr marL="216000" lvl="1" indent="-171450">
              <a:lnSpc>
                <a:spcPct val="150000"/>
              </a:lnSpc>
              <a:buFont typeface="Arial"/>
              <a:buChar char="•"/>
            </a:pPr>
            <a:r>
              <a:rPr lang="da-DK" sz="1050" b="1" dirty="0"/>
              <a:t>Adgang til Uniconta</a:t>
            </a:r>
            <a:endParaRPr lang="da-DK" sz="1050" dirty="0">
              <a:ea typeface="Verdana"/>
            </a:endParaRPr>
          </a:p>
        </p:txBody>
      </p:sp>
      <p:sp>
        <p:nvSpPr>
          <p:cNvPr id="3" name="Ellipse 2">
            <a:extLst>
              <a:ext uri="{FF2B5EF4-FFF2-40B4-BE49-F238E27FC236}">
                <a16:creationId xmlns:a16="http://schemas.microsoft.com/office/drawing/2014/main" id="{4154958F-D21F-1E0B-7EAA-EE73DAB73028}"/>
              </a:ext>
            </a:extLst>
          </p:cNvPr>
          <p:cNvSpPr/>
          <p:nvPr/>
        </p:nvSpPr>
        <p:spPr>
          <a:xfrm>
            <a:off x="3612892" y="5371695"/>
            <a:ext cx="490880" cy="468782"/>
          </a:xfrm>
          <a:prstGeom prst="ellipse">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da-DK" dirty="0">
                <a:latin typeface="+mj-lt"/>
                <a:ea typeface="Verdana"/>
              </a:rPr>
              <a:t>8</a:t>
            </a:r>
            <a:endParaRPr lang="da-DK" dirty="0">
              <a:latin typeface="+mj-lt"/>
            </a:endParaRPr>
          </a:p>
        </p:txBody>
      </p:sp>
      <p:sp>
        <p:nvSpPr>
          <p:cNvPr id="5" name="Rectangle 6">
            <a:extLst>
              <a:ext uri="{FF2B5EF4-FFF2-40B4-BE49-F238E27FC236}">
                <a16:creationId xmlns:a16="http://schemas.microsoft.com/office/drawing/2014/main" id="{1CE1C269-2FEA-BF31-3BE6-4C1B09917772}"/>
              </a:ext>
            </a:extLst>
          </p:cNvPr>
          <p:cNvSpPr/>
          <p:nvPr/>
        </p:nvSpPr>
        <p:spPr>
          <a:xfrm>
            <a:off x="4221273" y="5351116"/>
            <a:ext cx="5947562" cy="46878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a-DK" sz="1400" b="1" dirty="0">
                <a:solidFill>
                  <a:schemeClr val="tx1"/>
                </a:solidFill>
                <a:latin typeface="+mj-lt"/>
              </a:rPr>
              <a:t>Afslutning</a:t>
            </a:r>
          </a:p>
        </p:txBody>
      </p:sp>
      <p:sp>
        <p:nvSpPr>
          <p:cNvPr id="55" name="Rectangle 6">
            <a:extLst>
              <a:ext uri="{FF2B5EF4-FFF2-40B4-BE49-F238E27FC236}">
                <a16:creationId xmlns:a16="http://schemas.microsoft.com/office/drawing/2014/main" id="{6C1A5493-CC62-1A24-40C7-5AD0F938459C}"/>
              </a:ext>
            </a:extLst>
          </p:cNvPr>
          <p:cNvSpPr/>
          <p:nvPr/>
        </p:nvSpPr>
        <p:spPr>
          <a:xfrm>
            <a:off x="3122219" y="5910323"/>
            <a:ext cx="5947562" cy="46878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da-DK"/>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da-DK" sz="1100" b="1" dirty="0">
                <a:solidFill>
                  <a:schemeClr val="tx1"/>
                </a:solidFill>
                <a:latin typeface="+mj-lt"/>
              </a:rPr>
              <a:t>Frokost: 12:00 – 12:45 – Kaffepause kl. 14 – Øvrige pauser efter behov</a:t>
            </a:r>
          </a:p>
        </p:txBody>
      </p:sp>
      <p:sp>
        <p:nvSpPr>
          <p:cNvPr id="14" name="Billedforklaring: højrepil 13">
            <a:extLst>
              <a:ext uri="{FF2B5EF4-FFF2-40B4-BE49-F238E27FC236}">
                <a16:creationId xmlns:a16="http://schemas.microsoft.com/office/drawing/2014/main" id="{75B327E6-FDF8-4E0A-A15D-1DE48AF701D2}"/>
              </a:ext>
            </a:extLst>
          </p:cNvPr>
          <p:cNvSpPr/>
          <p:nvPr/>
        </p:nvSpPr>
        <p:spPr>
          <a:xfrm flipH="1">
            <a:off x="6453808" y="3873974"/>
            <a:ext cx="4950721" cy="2325668"/>
          </a:xfrm>
          <a:prstGeom prst="rightArrowCallout">
            <a:avLst>
              <a:gd name="adj1" fmla="val 4493"/>
              <a:gd name="adj2" fmla="val 5892"/>
              <a:gd name="adj3" fmla="val 8841"/>
              <a:gd name="adj4" fmla="val 44798"/>
            </a:avLst>
          </a:prstGeom>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36000" bIns="45720" rtlCol="0" anchor="ctr"/>
          <a:lstStyle/>
          <a:p>
            <a:pPr marL="171450" indent="-171450">
              <a:lnSpc>
                <a:spcPct val="150000"/>
              </a:lnSpc>
              <a:buFont typeface="Arial" panose="020B0604020202020204" pitchFamily="34" charset="0"/>
              <a:buChar char="•"/>
            </a:pPr>
            <a:r>
              <a:rPr lang="da-DK" sz="1050" b="1" dirty="0"/>
              <a:t>Enkel bogføring </a:t>
            </a:r>
            <a:r>
              <a:rPr lang="da-DK" sz="1050" dirty="0"/>
              <a:t>med vedhæftning af bilag</a:t>
            </a:r>
          </a:p>
          <a:p>
            <a:pPr marL="171450" indent="-171450">
              <a:lnSpc>
                <a:spcPct val="150000"/>
              </a:lnSpc>
              <a:buFont typeface="Arial" panose="020B0604020202020204" pitchFamily="34" charset="0"/>
              <a:buChar char="•"/>
            </a:pPr>
            <a:r>
              <a:rPr lang="da-DK" sz="1050" b="1" dirty="0"/>
              <a:t>Øremærkede midler</a:t>
            </a:r>
            <a:r>
              <a:rPr lang="da-DK" sz="1050" dirty="0"/>
              <a:t>, hensættelser, periodisering</a:t>
            </a:r>
            <a:endParaRPr lang="da-DK" sz="1050" b="1" dirty="0"/>
          </a:p>
          <a:p>
            <a:pPr marL="171450" indent="-171450">
              <a:lnSpc>
                <a:spcPct val="150000"/>
              </a:lnSpc>
              <a:buFont typeface="Arial" panose="020B0604020202020204" pitchFamily="34" charset="0"/>
              <a:buChar char="•"/>
            </a:pPr>
            <a:r>
              <a:rPr lang="da-DK" sz="1050" b="1" dirty="0"/>
              <a:t>Afstemning</a:t>
            </a:r>
          </a:p>
          <a:p>
            <a:pPr marL="171450" indent="-171450">
              <a:lnSpc>
                <a:spcPct val="150000"/>
              </a:lnSpc>
              <a:buFont typeface="Arial" panose="020B0604020202020204" pitchFamily="34" charset="0"/>
              <a:buChar char="•"/>
            </a:pPr>
            <a:r>
              <a:rPr lang="da-DK" sz="1050" b="1" dirty="0"/>
              <a:t>Rettelser</a:t>
            </a:r>
          </a:p>
          <a:p>
            <a:pPr marL="171450" indent="-171450">
              <a:lnSpc>
                <a:spcPct val="150000"/>
              </a:lnSpc>
              <a:buFont typeface="Arial" panose="020B0604020202020204" pitchFamily="34" charset="0"/>
              <a:buChar char="•"/>
            </a:pPr>
            <a:r>
              <a:rPr lang="da-DK" sz="1050" b="1" dirty="0"/>
              <a:t>Kontoudtog og balancer</a:t>
            </a:r>
          </a:p>
          <a:p>
            <a:pPr marL="171450" indent="-171450">
              <a:lnSpc>
                <a:spcPct val="150000"/>
              </a:lnSpc>
              <a:buFont typeface="Arial" panose="020B0604020202020204" pitchFamily="34" charset="0"/>
              <a:buChar char="•"/>
            </a:pPr>
            <a:r>
              <a:rPr lang="da-DK" sz="1050" b="1" dirty="0"/>
              <a:t>Bogføring butik </a:t>
            </a:r>
            <a:r>
              <a:rPr lang="da-DK" sz="1050" dirty="0"/>
              <a:t>med </a:t>
            </a:r>
            <a:r>
              <a:rPr lang="da-DK" sz="1050" dirty="0" err="1"/>
              <a:t>FlexPOS</a:t>
            </a:r>
            <a:r>
              <a:rPr lang="da-DK" sz="1050" dirty="0"/>
              <a:t>-integration</a:t>
            </a:r>
            <a:endParaRPr lang="da-DK" sz="1050" b="1" dirty="0"/>
          </a:p>
        </p:txBody>
      </p:sp>
    </p:spTree>
    <p:extLst>
      <p:ext uri="{BB962C8B-B14F-4D97-AF65-F5344CB8AC3E}">
        <p14:creationId xmlns:p14="http://schemas.microsoft.com/office/powerpoint/2010/main" val="29990789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F6208E-9313-B8B5-CA1F-EEF884ECEAF2}"/>
              </a:ext>
            </a:extLst>
          </p:cNvPr>
          <p:cNvSpPr>
            <a:spLocks noGrp="1"/>
          </p:cNvSpPr>
          <p:nvPr>
            <p:ph type="title"/>
          </p:nvPr>
        </p:nvSpPr>
        <p:spPr/>
        <p:txBody>
          <a:bodyPr/>
          <a:lstStyle/>
          <a:p>
            <a:r>
              <a:rPr lang="en-US" dirty="0" err="1"/>
              <a:t>Kontoplan</a:t>
            </a:r>
            <a:r>
              <a:rPr lang="en-US" dirty="0"/>
              <a:t> med </a:t>
            </a:r>
            <a:r>
              <a:rPr lang="en-US" dirty="0" err="1"/>
              <a:t>dimensioner</a:t>
            </a:r>
            <a:r>
              <a:rPr lang="en-US" dirty="0"/>
              <a:t> – </a:t>
            </a:r>
            <a:r>
              <a:rPr lang="en-US" dirty="0" err="1"/>
              <a:t>matrice-bogføring</a:t>
            </a:r>
            <a:br>
              <a:rPr lang="en-US" dirty="0"/>
            </a:br>
            <a:r>
              <a:rPr lang="en-US" dirty="0"/>
              <a:t>Eksempel</a:t>
            </a:r>
            <a:endParaRPr lang="da-DK" dirty="0"/>
          </a:p>
        </p:txBody>
      </p:sp>
      <p:pic>
        <p:nvPicPr>
          <p:cNvPr id="9" name="Pladsholder til indhold 8" descr="Kopi af kassekladde med eksempler på bogføring med dimensioner">
            <a:extLst>
              <a:ext uri="{FF2B5EF4-FFF2-40B4-BE49-F238E27FC236}">
                <a16:creationId xmlns:a16="http://schemas.microsoft.com/office/drawing/2014/main" id="{7B86343D-CA9B-8993-6B1F-D612078D03AF}"/>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895295" y="1815509"/>
            <a:ext cx="10118674" cy="2478977"/>
          </a:xfrm>
        </p:spPr>
      </p:pic>
      <p:sp>
        <p:nvSpPr>
          <p:cNvPr id="4" name="Footer Placeholder 3">
            <a:extLst>
              <a:ext uri="{FF2B5EF4-FFF2-40B4-BE49-F238E27FC236}">
                <a16:creationId xmlns:a16="http://schemas.microsoft.com/office/drawing/2014/main" id="{FBD1EC97-73EF-4D01-A213-909B894A20A1}"/>
              </a:ext>
            </a:extLst>
          </p:cNvPr>
          <p:cNvSpPr>
            <a:spLocks noGrp="1"/>
          </p:cNvSpPr>
          <p:nvPr>
            <p:ph type="ftr" sz="quarter" idx="11"/>
          </p:nvPr>
        </p:nvSpPr>
        <p:spPr>
          <a:xfrm>
            <a:off x="838199" y="6398603"/>
            <a:ext cx="10515599" cy="237600"/>
          </a:xfrm>
        </p:spPr>
        <p:txBody>
          <a:bodyPr/>
          <a:lstStyle/>
          <a:p>
            <a:r>
              <a:rPr lang="da-DK"/>
              <a:t>RØDE KORS / Introduktionskursus for nye kasserere / 2025</a:t>
            </a:r>
          </a:p>
        </p:txBody>
      </p:sp>
      <p:sp>
        <p:nvSpPr>
          <p:cNvPr id="14" name="Pladsholder til indhold 8">
            <a:extLst>
              <a:ext uri="{FF2B5EF4-FFF2-40B4-BE49-F238E27FC236}">
                <a16:creationId xmlns:a16="http://schemas.microsoft.com/office/drawing/2014/main" id="{AADA29BC-28CA-5E2E-072B-1C094E091B04}"/>
              </a:ext>
            </a:extLst>
          </p:cNvPr>
          <p:cNvSpPr txBox="1">
            <a:spLocks/>
          </p:cNvSpPr>
          <p:nvPr/>
        </p:nvSpPr>
        <p:spPr>
          <a:xfrm>
            <a:off x="838199" y="4573545"/>
            <a:ext cx="10515600" cy="455655"/>
          </a:xfrm>
          <a:prstGeom prst="rect">
            <a:avLst/>
          </a:prstGeom>
        </p:spPr>
        <p:txBody>
          <a:bodyPr vert="horz" lIns="0" tIns="0" rIns="0" bIns="0" rtlCol="0">
            <a:normAutofit/>
          </a:bodyPr>
          <a:lstStyle>
            <a:lvl1pPr marL="0" indent="0" algn="l" defTabSz="914400" rtl="0" eaLnBrk="1" latinLnBrk="0" hangingPunct="1">
              <a:lnSpc>
                <a:spcPct val="110000"/>
              </a:lnSpc>
              <a:spcBef>
                <a:spcPts val="2400"/>
              </a:spcBef>
              <a:buFont typeface="Arial" panose="020B0604020202020204" pitchFamily="34" charset="0"/>
              <a:buNone/>
              <a:defRPr sz="1800" kern="1200">
                <a:solidFill>
                  <a:schemeClr val="tx1"/>
                </a:solidFill>
                <a:latin typeface="+mn-lt"/>
                <a:ea typeface="+mn-ea"/>
                <a:cs typeface="+mn-cs"/>
              </a:defRPr>
            </a:lvl1pPr>
            <a:lvl2pPr marL="586800" indent="-334800" algn="l" defTabSz="914400" rtl="0" eaLnBrk="1" latinLnBrk="0" hangingPunct="1">
              <a:lnSpc>
                <a:spcPct val="110000"/>
              </a:lnSpc>
              <a:spcBef>
                <a:spcPts val="0"/>
              </a:spcBef>
              <a:buFont typeface="Verdana" panose="020B0604030504040204" pitchFamily="34" charset="0"/>
              <a:buChar char="‒"/>
              <a:defRPr sz="1800" kern="1200">
                <a:solidFill>
                  <a:schemeClr val="tx1"/>
                </a:solidFill>
                <a:latin typeface="+mn-lt"/>
                <a:ea typeface="+mn-ea"/>
                <a:cs typeface="+mn-cs"/>
              </a:defRPr>
            </a:lvl2pPr>
            <a:lvl3pPr marL="853200" indent="-270000" algn="l" defTabSz="914400" rtl="0" eaLnBrk="1" latinLnBrk="0" hangingPunct="1">
              <a:lnSpc>
                <a:spcPct val="110000"/>
              </a:lnSpc>
              <a:spcBef>
                <a:spcPts val="0"/>
              </a:spcBef>
              <a:buFont typeface="Verdana" panose="020B0604030504040204" pitchFamily="34" charset="0"/>
              <a:buChar char="‒"/>
              <a:defRPr sz="1600" kern="1200">
                <a:solidFill>
                  <a:schemeClr val="tx1"/>
                </a:solidFill>
                <a:latin typeface="+mn-lt"/>
                <a:ea typeface="+mn-ea"/>
                <a:cs typeface="+mn-cs"/>
              </a:defRPr>
            </a:lvl3pPr>
            <a:lvl4pPr marL="1112400" indent="-248400" algn="l" defTabSz="914400" rtl="0" eaLnBrk="1" latinLnBrk="0" hangingPunct="1">
              <a:lnSpc>
                <a:spcPct val="110000"/>
              </a:lnSpc>
              <a:spcBef>
                <a:spcPts val="0"/>
              </a:spcBef>
              <a:buFont typeface="Verdana" panose="020B060403050404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a-DK" sz="1700"/>
              <a:t>1. Med dimensionen B000 specificeres det, at salg er fra en bestemt butik.</a:t>
            </a:r>
          </a:p>
        </p:txBody>
      </p:sp>
      <p:sp>
        <p:nvSpPr>
          <p:cNvPr id="15" name="Pladsholder til indhold 8">
            <a:extLst>
              <a:ext uri="{FF2B5EF4-FFF2-40B4-BE49-F238E27FC236}">
                <a16:creationId xmlns:a16="http://schemas.microsoft.com/office/drawing/2014/main" id="{FFE06FD2-F230-84D6-CBCC-0389BC31AE80}"/>
              </a:ext>
            </a:extLst>
          </p:cNvPr>
          <p:cNvSpPr txBox="1">
            <a:spLocks/>
          </p:cNvSpPr>
          <p:nvPr/>
        </p:nvSpPr>
        <p:spPr>
          <a:xfrm>
            <a:off x="838198" y="5062541"/>
            <a:ext cx="10515600" cy="746401"/>
          </a:xfrm>
          <a:prstGeom prst="rect">
            <a:avLst/>
          </a:prstGeom>
        </p:spPr>
        <p:txBody>
          <a:bodyPr vert="horz" lIns="0" tIns="0" rIns="0" bIns="0" rtlCol="0">
            <a:normAutofit/>
          </a:bodyPr>
          <a:lstStyle>
            <a:lvl1pPr marL="0" indent="0" algn="l" defTabSz="914400" rtl="0" eaLnBrk="1" latinLnBrk="0" hangingPunct="1">
              <a:lnSpc>
                <a:spcPct val="110000"/>
              </a:lnSpc>
              <a:spcBef>
                <a:spcPts val="2400"/>
              </a:spcBef>
              <a:buFont typeface="Arial" panose="020B0604020202020204" pitchFamily="34" charset="0"/>
              <a:buNone/>
              <a:defRPr sz="1800" kern="1200">
                <a:solidFill>
                  <a:schemeClr val="tx1"/>
                </a:solidFill>
                <a:latin typeface="+mn-lt"/>
                <a:ea typeface="+mn-ea"/>
                <a:cs typeface="+mn-cs"/>
              </a:defRPr>
            </a:lvl1pPr>
            <a:lvl2pPr marL="586800" indent="-334800" algn="l" defTabSz="914400" rtl="0" eaLnBrk="1" latinLnBrk="0" hangingPunct="1">
              <a:lnSpc>
                <a:spcPct val="110000"/>
              </a:lnSpc>
              <a:spcBef>
                <a:spcPts val="0"/>
              </a:spcBef>
              <a:buFont typeface="Verdana" panose="020B0604030504040204" pitchFamily="34" charset="0"/>
              <a:buChar char="‒"/>
              <a:defRPr sz="1800" kern="1200">
                <a:solidFill>
                  <a:schemeClr val="tx1"/>
                </a:solidFill>
                <a:latin typeface="+mn-lt"/>
                <a:ea typeface="+mn-ea"/>
                <a:cs typeface="+mn-cs"/>
              </a:defRPr>
            </a:lvl2pPr>
            <a:lvl3pPr marL="853200" indent="-270000" algn="l" defTabSz="914400" rtl="0" eaLnBrk="1" latinLnBrk="0" hangingPunct="1">
              <a:lnSpc>
                <a:spcPct val="110000"/>
              </a:lnSpc>
              <a:spcBef>
                <a:spcPts val="0"/>
              </a:spcBef>
              <a:buFont typeface="Verdana" panose="020B0604030504040204" pitchFamily="34" charset="0"/>
              <a:buChar char="‒"/>
              <a:defRPr sz="1600" kern="1200">
                <a:solidFill>
                  <a:schemeClr val="tx1"/>
                </a:solidFill>
                <a:latin typeface="+mn-lt"/>
                <a:ea typeface="+mn-ea"/>
                <a:cs typeface="+mn-cs"/>
              </a:defRPr>
            </a:lvl3pPr>
            <a:lvl4pPr marL="1112400" indent="-248400" algn="l" defTabSz="914400" rtl="0" eaLnBrk="1" latinLnBrk="0" hangingPunct="1">
              <a:lnSpc>
                <a:spcPct val="110000"/>
              </a:lnSpc>
              <a:spcBef>
                <a:spcPts val="0"/>
              </a:spcBef>
              <a:buFont typeface="Verdana" panose="020B060403050404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a-DK" sz="1700" dirty="0"/>
              <a:t>2. Aktiviteter-dimensionen SA15 viser formålet med bevillingen.</a:t>
            </a:r>
            <a:br>
              <a:rPr lang="da-DK" sz="1700" dirty="0"/>
            </a:br>
            <a:r>
              <a:rPr lang="da-DK" sz="1700" dirty="0"/>
              <a:t>    M1 i dimensionen Midler angiver, at det drejer sig om en §18-bevilling.</a:t>
            </a:r>
          </a:p>
        </p:txBody>
      </p:sp>
      <p:sp>
        <p:nvSpPr>
          <p:cNvPr id="17" name="TextBox 16">
            <a:extLst>
              <a:ext uri="{FF2B5EF4-FFF2-40B4-BE49-F238E27FC236}">
                <a16:creationId xmlns:a16="http://schemas.microsoft.com/office/drawing/2014/main" id="{38CCCB32-8C8F-E6C3-F060-F3E99A8FDB2F}"/>
              </a:ext>
            </a:extLst>
          </p:cNvPr>
          <p:cNvSpPr txBox="1"/>
          <p:nvPr/>
        </p:nvSpPr>
        <p:spPr>
          <a:xfrm>
            <a:off x="754855" y="5708379"/>
            <a:ext cx="10515600" cy="369332"/>
          </a:xfrm>
          <a:prstGeom prst="rect">
            <a:avLst/>
          </a:prstGeom>
          <a:noFill/>
        </p:spPr>
        <p:txBody>
          <a:bodyPr wrap="square">
            <a:spAutoFit/>
          </a:bodyPr>
          <a:lstStyle/>
          <a:p>
            <a:r>
              <a:rPr lang="da-DK" sz="1800" dirty="0"/>
              <a:t>3. I sidste linje er posteret en udgift på samme §18-bevilling.</a:t>
            </a:r>
          </a:p>
        </p:txBody>
      </p:sp>
      <p:sp>
        <p:nvSpPr>
          <p:cNvPr id="21" name="Ellipse 20">
            <a:extLst>
              <a:ext uri="{FF2B5EF4-FFF2-40B4-BE49-F238E27FC236}">
                <a16:creationId xmlns:a16="http://schemas.microsoft.com/office/drawing/2014/main" id="{2D0C10A1-7B05-9935-AB77-34D49F1188CD}"/>
              </a:ext>
            </a:extLst>
          </p:cNvPr>
          <p:cNvSpPr/>
          <p:nvPr/>
        </p:nvSpPr>
        <p:spPr>
          <a:xfrm>
            <a:off x="3481331" y="3625739"/>
            <a:ext cx="451692" cy="208132"/>
          </a:xfrm>
          <a:prstGeom prst="ellipse">
            <a:avLst/>
          </a:prstGeom>
          <a:no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 name="Ellipse 21">
            <a:extLst>
              <a:ext uri="{FF2B5EF4-FFF2-40B4-BE49-F238E27FC236}">
                <a16:creationId xmlns:a16="http://schemas.microsoft.com/office/drawing/2014/main" id="{0382980B-2E40-E7A6-F310-A7BBD8F77E24}"/>
              </a:ext>
            </a:extLst>
          </p:cNvPr>
          <p:cNvSpPr/>
          <p:nvPr/>
        </p:nvSpPr>
        <p:spPr>
          <a:xfrm>
            <a:off x="3479493" y="3866275"/>
            <a:ext cx="451692" cy="208132"/>
          </a:xfrm>
          <a:prstGeom prst="ellipse">
            <a:avLst/>
          </a:prstGeom>
          <a:no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3" name="Ellipse 22">
            <a:extLst>
              <a:ext uri="{FF2B5EF4-FFF2-40B4-BE49-F238E27FC236}">
                <a16:creationId xmlns:a16="http://schemas.microsoft.com/office/drawing/2014/main" id="{4AEDAAF7-463B-6280-978B-BFC6E43D6260}"/>
              </a:ext>
            </a:extLst>
          </p:cNvPr>
          <p:cNvSpPr/>
          <p:nvPr/>
        </p:nvSpPr>
        <p:spPr>
          <a:xfrm>
            <a:off x="3481331" y="4129890"/>
            <a:ext cx="451692" cy="208132"/>
          </a:xfrm>
          <a:prstGeom prst="ellipse">
            <a:avLst/>
          </a:prstGeom>
          <a:no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4" name="Ellipse 23">
            <a:extLst>
              <a:ext uri="{FF2B5EF4-FFF2-40B4-BE49-F238E27FC236}">
                <a16:creationId xmlns:a16="http://schemas.microsoft.com/office/drawing/2014/main" id="{7C98B2B3-A623-CBAA-FBA9-70E548E83DBB}"/>
              </a:ext>
            </a:extLst>
          </p:cNvPr>
          <p:cNvSpPr/>
          <p:nvPr/>
        </p:nvSpPr>
        <p:spPr>
          <a:xfrm>
            <a:off x="4741333" y="4116672"/>
            <a:ext cx="451692" cy="208132"/>
          </a:xfrm>
          <a:prstGeom prst="ellipse">
            <a:avLst/>
          </a:prstGeom>
          <a:no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6" name="Ellipse 25">
            <a:extLst>
              <a:ext uri="{FF2B5EF4-FFF2-40B4-BE49-F238E27FC236}">
                <a16:creationId xmlns:a16="http://schemas.microsoft.com/office/drawing/2014/main" id="{71A1A585-5B08-49DD-8145-E396A9B5E8D8}"/>
              </a:ext>
            </a:extLst>
          </p:cNvPr>
          <p:cNvSpPr/>
          <p:nvPr/>
        </p:nvSpPr>
        <p:spPr>
          <a:xfrm>
            <a:off x="4750513" y="3882205"/>
            <a:ext cx="451692" cy="208132"/>
          </a:xfrm>
          <a:prstGeom prst="ellipse">
            <a:avLst/>
          </a:prstGeom>
          <a:no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27966694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p:bldP spid="17" grpId="0"/>
      <p:bldP spid="21" grpId="0" animBg="1"/>
      <p:bldP spid="22" grpId="0" animBg="1"/>
      <p:bldP spid="23" grpId="0" animBg="1"/>
      <p:bldP spid="24" grpId="0" animBg="1"/>
      <p:bldP spid="26"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1">
            <a:extLst>
              <a:ext uri="{FF2B5EF4-FFF2-40B4-BE49-F238E27FC236}">
                <a16:creationId xmlns:a16="http://schemas.microsoft.com/office/drawing/2014/main" id="{A5B05232-A7AE-389D-EA8C-5DC66E37A859}"/>
              </a:ext>
            </a:extLst>
          </p:cNvPr>
          <p:cNvSpPr>
            <a:spLocks noGrp="1"/>
          </p:cNvSpPr>
          <p:nvPr>
            <p:ph type="title"/>
          </p:nvPr>
        </p:nvSpPr>
        <p:spPr/>
        <p:txBody>
          <a:bodyPr/>
          <a:lstStyle/>
          <a:p>
            <a:r>
              <a:rPr lang="da-DK"/>
              <a:t>Demonstration og </a:t>
            </a:r>
            <a:r>
              <a:rPr lang="da-DK" err="1"/>
              <a:t>hands-on</a:t>
            </a:r>
            <a:r>
              <a:rPr lang="da-DK"/>
              <a:t> i</a:t>
            </a:r>
          </a:p>
        </p:txBody>
      </p:sp>
      <p:sp>
        <p:nvSpPr>
          <p:cNvPr id="4" name="Pladsholder til sidefod 3">
            <a:extLst>
              <a:ext uri="{FF2B5EF4-FFF2-40B4-BE49-F238E27FC236}">
                <a16:creationId xmlns:a16="http://schemas.microsoft.com/office/drawing/2014/main" id="{70C7B388-563F-861C-A3FB-71D8D18891EF}"/>
              </a:ext>
            </a:extLst>
          </p:cNvPr>
          <p:cNvSpPr>
            <a:spLocks noGrp="1"/>
          </p:cNvSpPr>
          <p:nvPr>
            <p:ph type="ftr" sz="quarter" idx="11"/>
          </p:nvPr>
        </p:nvSpPr>
        <p:spPr>
          <a:xfrm>
            <a:off x="838200" y="6418933"/>
            <a:ext cx="10515599" cy="237600"/>
          </a:xfrm>
        </p:spPr>
        <p:txBody>
          <a:bodyPr/>
          <a:lstStyle/>
          <a:p>
            <a:r>
              <a:rPr lang="da-DK"/>
              <a:t>RØDE KORS / Introduktionskursus for nye kasserere / 2025</a:t>
            </a:r>
          </a:p>
        </p:txBody>
      </p:sp>
      <p:pic>
        <p:nvPicPr>
          <p:cNvPr id="5" name="Picture 4" descr="Et billede, der indeholder Font/skrifttype, skærmbillede, Grafik, grafisk design&#10;&#10;Automatisk genereret beskrivelse">
            <a:extLst>
              <a:ext uri="{FF2B5EF4-FFF2-40B4-BE49-F238E27FC236}">
                <a16:creationId xmlns:a16="http://schemas.microsoft.com/office/drawing/2014/main" id="{866BB497-4C27-99F9-BEFD-FA608E2BBBA4}"/>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34926" b="32361"/>
          <a:stretch/>
        </p:blipFill>
        <p:spPr bwMode="auto">
          <a:xfrm>
            <a:off x="2666998" y="538973"/>
            <a:ext cx="6858000" cy="2303429"/>
          </a:xfrm>
          <a:prstGeom prst="rect">
            <a:avLst/>
          </a:prstGeom>
          <a:noFill/>
          <a:extLst>
            <a:ext uri="{909E8E84-426E-40DD-AFC4-6F175D3DCCD1}">
              <a14:hiddenFill xmlns:a14="http://schemas.microsoft.com/office/drawing/2010/main">
                <a:solidFill>
                  <a:srgbClr val="FFFFFF"/>
                </a:solidFill>
              </a14:hiddenFill>
            </a:ext>
          </a:extLst>
        </p:spPr>
      </p:pic>
      <p:grpSp>
        <p:nvGrpSpPr>
          <p:cNvPr id="42" name="Gruppe 41">
            <a:extLst>
              <a:ext uri="{FF2B5EF4-FFF2-40B4-BE49-F238E27FC236}">
                <a16:creationId xmlns:a16="http://schemas.microsoft.com/office/drawing/2014/main" id="{54B02CCA-C357-F74C-9C73-C3F8A8C3C165}"/>
              </a:ext>
            </a:extLst>
          </p:cNvPr>
          <p:cNvGrpSpPr>
            <a:grpSpLocks noChangeAspect="1"/>
          </p:cNvGrpSpPr>
          <p:nvPr/>
        </p:nvGrpSpPr>
        <p:grpSpPr>
          <a:xfrm>
            <a:off x="3548407" y="2588520"/>
            <a:ext cx="5099272" cy="2479993"/>
            <a:chOff x="736186" y="2895935"/>
            <a:chExt cx="4765675" cy="2317751"/>
          </a:xfrm>
        </p:grpSpPr>
        <p:sp>
          <p:nvSpPr>
            <p:cNvPr id="15" name="Ellipse 14">
              <a:extLst>
                <a:ext uri="{FF2B5EF4-FFF2-40B4-BE49-F238E27FC236}">
                  <a16:creationId xmlns:a16="http://schemas.microsoft.com/office/drawing/2014/main" id="{FA7564B7-04C2-81EF-DE12-5AA8BD27E178}"/>
                </a:ext>
              </a:extLst>
            </p:cNvPr>
            <p:cNvSpPr/>
            <p:nvPr/>
          </p:nvSpPr>
          <p:spPr>
            <a:xfrm>
              <a:off x="988516" y="3195985"/>
              <a:ext cx="1178396" cy="1178396"/>
            </a:xfrm>
            <a:prstGeom prst="ellipse">
              <a:avLst/>
            </a:prstGeom>
            <a:solidFill>
              <a:srgbClr val="5CC4B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 name="Ellipse 15">
              <a:extLst>
                <a:ext uri="{FF2B5EF4-FFF2-40B4-BE49-F238E27FC236}">
                  <a16:creationId xmlns:a16="http://schemas.microsoft.com/office/drawing/2014/main" id="{9421E804-05A7-2A54-D04B-10A80D45E341}"/>
                </a:ext>
              </a:extLst>
            </p:cNvPr>
            <p:cNvSpPr/>
            <p:nvPr/>
          </p:nvSpPr>
          <p:spPr>
            <a:xfrm>
              <a:off x="2503495" y="3195985"/>
              <a:ext cx="1178396" cy="1178396"/>
            </a:xfrm>
            <a:prstGeom prst="ellipse">
              <a:avLst/>
            </a:prstGeom>
            <a:solidFill>
              <a:srgbClr val="5CC4B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 name="Ellipse 16">
              <a:extLst>
                <a:ext uri="{FF2B5EF4-FFF2-40B4-BE49-F238E27FC236}">
                  <a16:creationId xmlns:a16="http://schemas.microsoft.com/office/drawing/2014/main" id="{72549A44-C8A6-8845-716E-1EAEEF530A3A}"/>
                </a:ext>
              </a:extLst>
            </p:cNvPr>
            <p:cNvSpPr/>
            <p:nvPr/>
          </p:nvSpPr>
          <p:spPr>
            <a:xfrm>
              <a:off x="4053900" y="3195985"/>
              <a:ext cx="1178396" cy="1178396"/>
            </a:xfrm>
            <a:prstGeom prst="ellipse">
              <a:avLst/>
            </a:prstGeom>
            <a:solidFill>
              <a:srgbClr val="5CC4B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18" name="Grafik 17">
              <a:extLst>
                <a:ext uri="{FF2B5EF4-FFF2-40B4-BE49-F238E27FC236}">
                  <a16:creationId xmlns:a16="http://schemas.microsoft.com/office/drawing/2014/main" id="{8B1E2735-2E73-7CC8-582C-14F3213A27E2}"/>
                </a:ext>
              </a:extLst>
            </p:cNvPr>
            <p:cNvPicPr>
              <a:picLocks noChangeAspect="1"/>
            </p:cNvPicPr>
            <p:nvPr>
              <p:custDataLst>
                <p:tags r:id="rId1"/>
              </p:custDataLst>
            </p:nvPr>
          </p:nvPicPr>
          <p:blipFill>
            <a:blip r:embed="rId7">
              <a:extLst>
                <a:ext uri="{96DAC541-7B7A-43D3-8B79-37D633B846F1}">
                  <asvg:svgBlip xmlns:asvg="http://schemas.microsoft.com/office/drawing/2016/SVG/main" r:embed="rId8"/>
                </a:ext>
              </a:extLst>
            </a:blip>
            <a:stretch>
              <a:fillRect/>
            </a:stretch>
          </p:blipFill>
          <p:spPr>
            <a:xfrm>
              <a:off x="1293163" y="3513214"/>
              <a:ext cx="569102" cy="569102"/>
            </a:xfrm>
            <a:prstGeom prst="rect">
              <a:avLst/>
            </a:prstGeom>
          </p:spPr>
        </p:pic>
        <p:pic>
          <p:nvPicPr>
            <p:cNvPr id="19" name="Grafik 18">
              <a:extLst>
                <a:ext uri="{FF2B5EF4-FFF2-40B4-BE49-F238E27FC236}">
                  <a16:creationId xmlns:a16="http://schemas.microsoft.com/office/drawing/2014/main" id="{4E9F4813-3C78-9165-6A62-FA30664053C9}"/>
                </a:ext>
              </a:extLst>
            </p:cNvPr>
            <p:cNvPicPr>
              <a:picLocks noChangeAspect="1"/>
            </p:cNvPicPr>
            <p:nvPr>
              <p:custDataLst>
                <p:tags r:id="rId2"/>
              </p:custDataLst>
            </p:nvPr>
          </p:nvPicPr>
          <p:blipFill>
            <a:blip r:embed="rId9">
              <a:extLst>
                <a:ext uri="{96DAC541-7B7A-43D3-8B79-37D633B846F1}">
                  <asvg:svgBlip xmlns:asvg="http://schemas.microsoft.com/office/drawing/2016/SVG/main" r:embed="rId10"/>
                </a:ext>
              </a:extLst>
            </a:blip>
            <a:stretch>
              <a:fillRect/>
            </a:stretch>
          </p:blipFill>
          <p:spPr>
            <a:xfrm>
              <a:off x="2806596" y="3503468"/>
              <a:ext cx="572194" cy="572194"/>
            </a:xfrm>
            <a:prstGeom prst="rect">
              <a:avLst/>
            </a:prstGeom>
          </p:spPr>
        </p:pic>
        <p:pic>
          <p:nvPicPr>
            <p:cNvPr id="20" name="Grafik 19">
              <a:extLst>
                <a:ext uri="{FF2B5EF4-FFF2-40B4-BE49-F238E27FC236}">
                  <a16:creationId xmlns:a16="http://schemas.microsoft.com/office/drawing/2014/main" id="{DC3BED6C-35B0-8DE2-E5C8-A4E3CCDD43F7}"/>
                </a:ext>
              </a:extLst>
            </p:cNvPr>
            <p:cNvPicPr>
              <a:picLocks noChangeAspect="1"/>
            </p:cNvPicPr>
            <p:nvPr>
              <p:custDataLst>
                <p:tags r:id="rId3"/>
              </p:custDataLst>
            </p:nvPr>
          </p:nvPicPr>
          <p:blipFill>
            <a:blip r:embed="rId11">
              <a:extLst>
                <a:ext uri="{96DAC541-7B7A-43D3-8B79-37D633B846F1}">
                  <asvg:svgBlip xmlns:asvg="http://schemas.microsoft.com/office/drawing/2016/SVG/main" r:embed="rId12"/>
                </a:ext>
              </a:extLst>
            </a:blip>
            <a:stretch>
              <a:fillRect/>
            </a:stretch>
          </p:blipFill>
          <p:spPr>
            <a:xfrm>
              <a:off x="4357001" y="3502051"/>
              <a:ext cx="572194" cy="572194"/>
            </a:xfrm>
            <a:prstGeom prst="rect">
              <a:avLst/>
            </a:prstGeom>
          </p:spPr>
        </p:pic>
        <p:sp>
          <p:nvSpPr>
            <p:cNvPr id="22" name="Rektangel 21">
              <a:extLst>
                <a:ext uri="{FF2B5EF4-FFF2-40B4-BE49-F238E27FC236}">
                  <a16:creationId xmlns:a16="http://schemas.microsoft.com/office/drawing/2014/main" id="{40B6A483-DB1D-5AB4-6E0E-47B59B67CB61}"/>
                </a:ext>
              </a:extLst>
            </p:cNvPr>
            <p:cNvSpPr/>
            <p:nvPr/>
          </p:nvSpPr>
          <p:spPr>
            <a:xfrm>
              <a:off x="898711" y="4599452"/>
              <a:ext cx="1376010" cy="376604"/>
            </a:xfrm>
            <a:prstGeom prst="rect">
              <a:avLst/>
            </a:prstGeom>
            <a:solidFill>
              <a:srgbClr val="5CC4B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900" dirty="0">
                  <a:solidFill>
                    <a:schemeClr val="bg1"/>
                  </a:solidFill>
                </a:rPr>
                <a:t>Hent app</a:t>
              </a:r>
            </a:p>
          </p:txBody>
        </p:sp>
        <p:sp>
          <p:nvSpPr>
            <p:cNvPr id="23" name="Rektangel 22">
              <a:extLst>
                <a:ext uri="{FF2B5EF4-FFF2-40B4-BE49-F238E27FC236}">
                  <a16:creationId xmlns:a16="http://schemas.microsoft.com/office/drawing/2014/main" id="{F55D04F2-0D65-7182-4298-F410D8C1DAA9}"/>
                </a:ext>
              </a:extLst>
            </p:cNvPr>
            <p:cNvSpPr/>
            <p:nvPr/>
          </p:nvSpPr>
          <p:spPr>
            <a:xfrm>
              <a:off x="2420609" y="4593205"/>
              <a:ext cx="1376010" cy="376604"/>
            </a:xfrm>
            <a:prstGeom prst="rect">
              <a:avLst/>
            </a:prstGeom>
            <a:solidFill>
              <a:srgbClr val="5CC4B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900" dirty="0">
                  <a:solidFill>
                    <a:schemeClr val="bg1"/>
                  </a:solidFill>
                </a:rPr>
                <a:t>Log ind</a:t>
              </a:r>
            </a:p>
          </p:txBody>
        </p:sp>
        <p:sp>
          <p:nvSpPr>
            <p:cNvPr id="24" name="Rektangel 23">
              <a:extLst>
                <a:ext uri="{FF2B5EF4-FFF2-40B4-BE49-F238E27FC236}">
                  <a16:creationId xmlns:a16="http://schemas.microsoft.com/office/drawing/2014/main" id="{AED4461A-BEEE-FDFE-7546-36588E27D213}"/>
                </a:ext>
              </a:extLst>
            </p:cNvPr>
            <p:cNvSpPr/>
            <p:nvPr/>
          </p:nvSpPr>
          <p:spPr>
            <a:xfrm>
              <a:off x="3957176" y="4588822"/>
              <a:ext cx="1376010" cy="376604"/>
            </a:xfrm>
            <a:prstGeom prst="rect">
              <a:avLst/>
            </a:prstGeom>
            <a:solidFill>
              <a:srgbClr val="5CC4B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a-DK" sz="900" dirty="0">
                  <a:solidFill>
                    <a:schemeClr val="bg1"/>
                  </a:solidFill>
                </a:rPr>
                <a:t>Ny personlig adgangskode</a:t>
              </a:r>
            </a:p>
          </p:txBody>
        </p:sp>
        <p:sp>
          <p:nvSpPr>
            <p:cNvPr id="25" name="Rutediagram: Proces 24">
              <a:extLst>
                <a:ext uri="{FF2B5EF4-FFF2-40B4-BE49-F238E27FC236}">
                  <a16:creationId xmlns:a16="http://schemas.microsoft.com/office/drawing/2014/main" id="{0C9103E9-737F-6AB1-1465-0882D23DE205}"/>
                </a:ext>
              </a:extLst>
            </p:cNvPr>
            <p:cNvSpPr/>
            <p:nvPr/>
          </p:nvSpPr>
          <p:spPr>
            <a:xfrm>
              <a:off x="736186" y="2895935"/>
              <a:ext cx="4765675" cy="2317751"/>
            </a:xfrm>
            <a:prstGeom prst="flowChartProcess">
              <a:avLst/>
            </a:prstGeom>
            <a:noFill/>
            <a:ln w="28575">
              <a:solidFill>
                <a:srgbClr val="5CC4BF"/>
              </a:solidFill>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grpSp>
      <p:sp>
        <p:nvSpPr>
          <p:cNvPr id="3" name="Tekstfelt 2">
            <a:extLst>
              <a:ext uri="{FF2B5EF4-FFF2-40B4-BE49-F238E27FC236}">
                <a16:creationId xmlns:a16="http://schemas.microsoft.com/office/drawing/2014/main" id="{A5CC3FF2-7B03-8A03-C4B3-F2531D7E754D}"/>
              </a:ext>
            </a:extLst>
          </p:cNvPr>
          <p:cNvSpPr txBox="1"/>
          <p:nvPr/>
        </p:nvSpPr>
        <p:spPr>
          <a:xfrm>
            <a:off x="838200" y="5656465"/>
            <a:ext cx="10201102" cy="338554"/>
          </a:xfrm>
          <a:prstGeom prst="rect">
            <a:avLst/>
          </a:prstGeom>
          <a:noFill/>
        </p:spPr>
        <p:txBody>
          <a:bodyPr wrap="square" rtlCol="0">
            <a:spAutoFit/>
          </a:bodyPr>
          <a:lstStyle/>
          <a:p>
            <a:pPr algn="ctr"/>
            <a:r>
              <a:rPr lang="da-DK" sz="1600" b="1" dirty="0"/>
              <a:t>Vejledning 1 Hent Uniconta, 2b Log på Uniconta og 2d Skift kodeord til Uniconta</a:t>
            </a:r>
          </a:p>
        </p:txBody>
      </p:sp>
    </p:spTree>
    <p:extLst>
      <p:ext uri="{BB962C8B-B14F-4D97-AF65-F5344CB8AC3E}">
        <p14:creationId xmlns:p14="http://schemas.microsoft.com/office/powerpoint/2010/main" val="7127972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alpha val="88000"/>
          </a:schemeClr>
        </a:solidFill>
        <a:effectLst/>
      </p:bgPr>
    </p:bg>
    <p:spTree>
      <p:nvGrpSpPr>
        <p:cNvPr id="1" name=""/>
        <p:cNvGrpSpPr/>
        <p:nvPr/>
      </p:nvGrpSpPr>
      <p:grpSpPr>
        <a:xfrm>
          <a:off x="0" y="0"/>
          <a:ext cx="0" cy="0"/>
          <a:chOff x="0" y="0"/>
          <a:chExt cx="0" cy="0"/>
        </a:xfrm>
      </p:grpSpPr>
      <p:sp>
        <p:nvSpPr>
          <p:cNvPr id="7" name="Titel 1">
            <a:extLst>
              <a:ext uri="{FF2B5EF4-FFF2-40B4-BE49-F238E27FC236}">
                <a16:creationId xmlns:a16="http://schemas.microsoft.com/office/drawing/2014/main" id="{A5B05232-A7AE-389D-EA8C-5DC66E37A859}"/>
              </a:ext>
            </a:extLst>
          </p:cNvPr>
          <p:cNvSpPr>
            <a:spLocks noGrp="1"/>
          </p:cNvSpPr>
          <p:nvPr>
            <p:ph type="title"/>
          </p:nvPr>
        </p:nvSpPr>
        <p:spPr/>
        <p:txBody>
          <a:bodyPr/>
          <a:lstStyle/>
          <a:p>
            <a:r>
              <a:rPr lang="da-DK"/>
              <a:t>Demonstration og </a:t>
            </a:r>
            <a:r>
              <a:rPr lang="da-DK" err="1"/>
              <a:t>hands-on</a:t>
            </a:r>
            <a:r>
              <a:rPr lang="da-DK"/>
              <a:t> i</a:t>
            </a:r>
          </a:p>
        </p:txBody>
      </p:sp>
      <p:sp>
        <p:nvSpPr>
          <p:cNvPr id="4" name="Pladsholder til sidefod 3">
            <a:extLst>
              <a:ext uri="{FF2B5EF4-FFF2-40B4-BE49-F238E27FC236}">
                <a16:creationId xmlns:a16="http://schemas.microsoft.com/office/drawing/2014/main" id="{70C7B388-563F-861C-A3FB-71D8D18891EF}"/>
              </a:ext>
            </a:extLst>
          </p:cNvPr>
          <p:cNvSpPr>
            <a:spLocks noGrp="1"/>
          </p:cNvSpPr>
          <p:nvPr>
            <p:ph type="ftr" sz="quarter" idx="11"/>
          </p:nvPr>
        </p:nvSpPr>
        <p:spPr/>
        <p:txBody>
          <a:bodyPr/>
          <a:lstStyle/>
          <a:p>
            <a:r>
              <a:rPr lang="da-DK"/>
              <a:t>RØDE KORS / Introduktionskursus for nye kasserere / 2025</a:t>
            </a:r>
          </a:p>
        </p:txBody>
      </p:sp>
      <p:pic>
        <p:nvPicPr>
          <p:cNvPr id="5" name="Picture 4" descr="Et billede, der indeholder Font/skrifttype, skærmbillede, Grafik, grafisk design&#10;&#10;Automatisk genereret beskrivelse">
            <a:extLst>
              <a:ext uri="{FF2B5EF4-FFF2-40B4-BE49-F238E27FC236}">
                <a16:creationId xmlns:a16="http://schemas.microsoft.com/office/drawing/2014/main" id="{866BB497-4C27-99F9-BEFD-FA608E2BBBA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34926" b="32361"/>
          <a:stretch/>
        </p:blipFill>
        <p:spPr bwMode="auto">
          <a:xfrm>
            <a:off x="2666998" y="538973"/>
            <a:ext cx="6858000" cy="2303429"/>
          </a:xfrm>
          <a:prstGeom prst="rect">
            <a:avLst/>
          </a:prstGeom>
          <a:noFill/>
          <a:extLst>
            <a:ext uri="{909E8E84-426E-40DD-AFC4-6F175D3DCCD1}">
              <a14:hiddenFill xmlns:a14="http://schemas.microsoft.com/office/drawing/2010/main">
                <a:solidFill>
                  <a:srgbClr val="FFFFFF"/>
                </a:solidFill>
              </a14:hiddenFill>
            </a:ext>
          </a:extLst>
        </p:spPr>
      </p:pic>
      <p:sp>
        <p:nvSpPr>
          <p:cNvPr id="13" name="Rektangel: afrundede hjørner 12">
            <a:extLst>
              <a:ext uri="{FF2B5EF4-FFF2-40B4-BE49-F238E27FC236}">
                <a16:creationId xmlns:a16="http://schemas.microsoft.com/office/drawing/2014/main" id="{B31EF8FF-EEC6-5DB0-56CC-D5F439CCE46E}"/>
              </a:ext>
            </a:extLst>
          </p:cNvPr>
          <p:cNvSpPr/>
          <p:nvPr/>
        </p:nvSpPr>
        <p:spPr>
          <a:xfrm>
            <a:off x="4452937" y="2798440"/>
            <a:ext cx="2957512" cy="1878020"/>
          </a:xfrm>
          <a:prstGeom prst="roundRect">
            <a:avLst>
              <a:gd name="adj" fmla="val 10000"/>
            </a:avLst>
          </a:prstGeom>
          <a:solidFill>
            <a:srgbClr val="5CC4BF"/>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da-DK"/>
          </a:p>
        </p:txBody>
      </p:sp>
      <p:grpSp>
        <p:nvGrpSpPr>
          <p:cNvPr id="14" name="Gruppe 13">
            <a:extLst>
              <a:ext uri="{FF2B5EF4-FFF2-40B4-BE49-F238E27FC236}">
                <a16:creationId xmlns:a16="http://schemas.microsoft.com/office/drawing/2014/main" id="{4D6471A8-9BB8-0344-B6A9-FBC756C512E5}"/>
              </a:ext>
            </a:extLst>
          </p:cNvPr>
          <p:cNvGrpSpPr/>
          <p:nvPr/>
        </p:nvGrpSpPr>
        <p:grpSpPr>
          <a:xfrm>
            <a:off x="4781550" y="3110622"/>
            <a:ext cx="2957512" cy="1878020"/>
            <a:chOff x="3943350" y="1414180"/>
            <a:chExt cx="2957512" cy="1878020"/>
          </a:xfrm>
        </p:grpSpPr>
        <p:sp>
          <p:nvSpPr>
            <p:cNvPr id="15" name="Rektangel: afrundede hjørner 14">
              <a:extLst>
                <a:ext uri="{FF2B5EF4-FFF2-40B4-BE49-F238E27FC236}">
                  <a16:creationId xmlns:a16="http://schemas.microsoft.com/office/drawing/2014/main" id="{0952F745-70BF-3436-9634-5EFF955BDCA6}"/>
                </a:ext>
              </a:extLst>
            </p:cNvPr>
            <p:cNvSpPr/>
            <p:nvPr/>
          </p:nvSpPr>
          <p:spPr>
            <a:xfrm>
              <a:off x="3943350" y="1414180"/>
              <a:ext cx="2957512" cy="1878020"/>
            </a:xfrm>
            <a:prstGeom prst="roundRect">
              <a:avLst>
                <a:gd name="adj" fmla="val 10000"/>
              </a:avLst>
            </a:prstGeom>
            <a:solidFill>
              <a:schemeClr val="lt1">
                <a:hueOff val="0"/>
                <a:satOff val="0"/>
                <a:lumOff val="0"/>
                <a:alpha val="95000"/>
              </a:schemeClr>
            </a:solidFill>
            <a:ln>
              <a:solidFill>
                <a:srgbClr val="5CC4BF"/>
              </a:solid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endParaRPr lang="da-DK"/>
            </a:p>
          </p:txBody>
        </p:sp>
        <p:sp>
          <p:nvSpPr>
            <p:cNvPr id="16" name="Rektangel: afrundede hjørner 5">
              <a:extLst>
                <a:ext uri="{FF2B5EF4-FFF2-40B4-BE49-F238E27FC236}">
                  <a16:creationId xmlns:a16="http://schemas.microsoft.com/office/drawing/2014/main" id="{97B9824C-C3D1-986B-5502-B2CE93CF71C7}"/>
                </a:ext>
              </a:extLst>
            </p:cNvPr>
            <p:cNvSpPr txBox="1"/>
            <p:nvPr/>
          </p:nvSpPr>
          <p:spPr>
            <a:xfrm>
              <a:off x="3998355" y="1469185"/>
              <a:ext cx="2847502" cy="176801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a-DK" sz="1600" b="1" kern="1200">
                  <a:solidFill>
                    <a:srgbClr val="5CC4BF"/>
                  </a:solidFill>
                </a:rPr>
                <a:t>Enkel bogføring</a:t>
              </a:r>
              <a:endParaRPr lang="en-US" sz="1600" b="1" kern="1200">
                <a:solidFill>
                  <a:srgbClr val="5CC4BF"/>
                </a:solidFill>
              </a:endParaRPr>
            </a:p>
          </p:txBody>
        </p:sp>
      </p:grpSp>
      <p:sp>
        <p:nvSpPr>
          <p:cNvPr id="3" name="Tekstfelt 2">
            <a:extLst>
              <a:ext uri="{FF2B5EF4-FFF2-40B4-BE49-F238E27FC236}">
                <a16:creationId xmlns:a16="http://schemas.microsoft.com/office/drawing/2014/main" id="{62127AF1-F358-ED3B-7C37-DDB9BB5448BB}"/>
              </a:ext>
            </a:extLst>
          </p:cNvPr>
          <p:cNvSpPr txBox="1"/>
          <p:nvPr/>
        </p:nvSpPr>
        <p:spPr>
          <a:xfrm>
            <a:off x="2682609" y="5689715"/>
            <a:ext cx="6858000" cy="338554"/>
          </a:xfrm>
          <a:prstGeom prst="rect">
            <a:avLst/>
          </a:prstGeom>
          <a:noFill/>
        </p:spPr>
        <p:txBody>
          <a:bodyPr wrap="square" rtlCol="0">
            <a:spAutoFit/>
          </a:bodyPr>
          <a:lstStyle/>
          <a:p>
            <a:pPr algn="ctr"/>
            <a:r>
              <a:rPr lang="da-DK" sz="1600" b="1" dirty="0"/>
              <a:t>Vejledning 6b Bogføring – enkel bogføring af bilag</a:t>
            </a:r>
          </a:p>
        </p:txBody>
      </p:sp>
    </p:spTree>
    <p:extLst>
      <p:ext uri="{BB962C8B-B14F-4D97-AF65-F5344CB8AC3E}">
        <p14:creationId xmlns:p14="http://schemas.microsoft.com/office/powerpoint/2010/main" val="83758458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1">
            <a:extLst>
              <a:ext uri="{FF2B5EF4-FFF2-40B4-BE49-F238E27FC236}">
                <a16:creationId xmlns:a16="http://schemas.microsoft.com/office/drawing/2014/main" id="{A5B05232-A7AE-389D-EA8C-5DC66E37A859}"/>
              </a:ext>
            </a:extLst>
          </p:cNvPr>
          <p:cNvSpPr>
            <a:spLocks noGrp="1"/>
          </p:cNvSpPr>
          <p:nvPr>
            <p:ph type="title"/>
          </p:nvPr>
        </p:nvSpPr>
        <p:spPr/>
        <p:txBody>
          <a:bodyPr/>
          <a:lstStyle/>
          <a:p>
            <a:r>
              <a:rPr lang="da-DK"/>
              <a:t>Demonstration og </a:t>
            </a:r>
            <a:r>
              <a:rPr lang="da-DK" err="1"/>
              <a:t>hands-on</a:t>
            </a:r>
            <a:r>
              <a:rPr lang="da-DK"/>
              <a:t> i</a:t>
            </a:r>
          </a:p>
        </p:txBody>
      </p:sp>
      <p:sp>
        <p:nvSpPr>
          <p:cNvPr id="4" name="Pladsholder til sidefod 3">
            <a:extLst>
              <a:ext uri="{FF2B5EF4-FFF2-40B4-BE49-F238E27FC236}">
                <a16:creationId xmlns:a16="http://schemas.microsoft.com/office/drawing/2014/main" id="{70C7B388-563F-861C-A3FB-71D8D18891EF}"/>
              </a:ext>
            </a:extLst>
          </p:cNvPr>
          <p:cNvSpPr>
            <a:spLocks noGrp="1"/>
          </p:cNvSpPr>
          <p:nvPr>
            <p:ph type="ftr" sz="quarter" idx="11"/>
          </p:nvPr>
        </p:nvSpPr>
        <p:spPr/>
        <p:txBody>
          <a:bodyPr/>
          <a:lstStyle/>
          <a:p>
            <a:r>
              <a:rPr lang="da-DK"/>
              <a:t>RØDE KORS / Introduktionskursus for nye kasserere / 2025</a:t>
            </a:r>
          </a:p>
        </p:txBody>
      </p:sp>
      <p:pic>
        <p:nvPicPr>
          <p:cNvPr id="5" name="Picture 4" descr="Et billede, der indeholder Font/skrifttype, skærmbillede, Grafik, grafisk design&#10;&#10;Automatisk genereret beskrivelse">
            <a:extLst>
              <a:ext uri="{FF2B5EF4-FFF2-40B4-BE49-F238E27FC236}">
                <a16:creationId xmlns:a16="http://schemas.microsoft.com/office/drawing/2014/main" id="{866BB497-4C27-99F9-BEFD-FA608E2BBBA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34926" b="32361"/>
          <a:stretch/>
        </p:blipFill>
        <p:spPr bwMode="auto">
          <a:xfrm>
            <a:off x="2666998" y="538973"/>
            <a:ext cx="6858000" cy="2303429"/>
          </a:xfrm>
          <a:prstGeom prst="rect">
            <a:avLst/>
          </a:prstGeom>
          <a:noFill/>
          <a:extLst>
            <a:ext uri="{909E8E84-426E-40DD-AFC4-6F175D3DCCD1}">
              <a14:hiddenFill xmlns:a14="http://schemas.microsoft.com/office/drawing/2010/main">
                <a:solidFill>
                  <a:srgbClr val="FFFFFF"/>
                </a:solidFill>
              </a14:hiddenFill>
            </a:ext>
          </a:extLst>
        </p:spPr>
      </p:pic>
      <p:sp>
        <p:nvSpPr>
          <p:cNvPr id="13" name="Rektangel: afrundede hjørner 12">
            <a:extLst>
              <a:ext uri="{FF2B5EF4-FFF2-40B4-BE49-F238E27FC236}">
                <a16:creationId xmlns:a16="http://schemas.microsoft.com/office/drawing/2014/main" id="{B31EF8FF-EEC6-5DB0-56CC-D5F439CCE46E}"/>
              </a:ext>
            </a:extLst>
          </p:cNvPr>
          <p:cNvSpPr/>
          <p:nvPr/>
        </p:nvSpPr>
        <p:spPr>
          <a:xfrm>
            <a:off x="4452937" y="2798440"/>
            <a:ext cx="2957512" cy="1878020"/>
          </a:xfrm>
          <a:prstGeom prst="roundRect">
            <a:avLst>
              <a:gd name="adj" fmla="val 10000"/>
            </a:avLst>
          </a:prstGeom>
          <a:solidFill>
            <a:srgbClr val="5CC4BF"/>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da-DK"/>
          </a:p>
        </p:txBody>
      </p:sp>
      <p:grpSp>
        <p:nvGrpSpPr>
          <p:cNvPr id="14" name="Gruppe 13">
            <a:extLst>
              <a:ext uri="{FF2B5EF4-FFF2-40B4-BE49-F238E27FC236}">
                <a16:creationId xmlns:a16="http://schemas.microsoft.com/office/drawing/2014/main" id="{4D6471A8-9BB8-0344-B6A9-FBC756C512E5}"/>
              </a:ext>
            </a:extLst>
          </p:cNvPr>
          <p:cNvGrpSpPr/>
          <p:nvPr/>
        </p:nvGrpSpPr>
        <p:grpSpPr>
          <a:xfrm>
            <a:off x="4781550" y="3110622"/>
            <a:ext cx="2957512" cy="1878020"/>
            <a:chOff x="3943350" y="1414180"/>
            <a:chExt cx="2957512" cy="1878020"/>
          </a:xfrm>
        </p:grpSpPr>
        <p:sp>
          <p:nvSpPr>
            <p:cNvPr id="15" name="Rektangel: afrundede hjørner 14">
              <a:extLst>
                <a:ext uri="{FF2B5EF4-FFF2-40B4-BE49-F238E27FC236}">
                  <a16:creationId xmlns:a16="http://schemas.microsoft.com/office/drawing/2014/main" id="{0952F745-70BF-3436-9634-5EFF955BDCA6}"/>
                </a:ext>
              </a:extLst>
            </p:cNvPr>
            <p:cNvSpPr/>
            <p:nvPr/>
          </p:nvSpPr>
          <p:spPr>
            <a:xfrm>
              <a:off x="3943350" y="1414180"/>
              <a:ext cx="2957512" cy="1878020"/>
            </a:xfrm>
            <a:prstGeom prst="roundRect">
              <a:avLst>
                <a:gd name="adj" fmla="val 10000"/>
              </a:avLst>
            </a:prstGeom>
            <a:solidFill>
              <a:schemeClr val="lt1">
                <a:hueOff val="0"/>
                <a:satOff val="0"/>
                <a:lumOff val="0"/>
                <a:alpha val="95000"/>
              </a:schemeClr>
            </a:solidFill>
            <a:ln>
              <a:solidFill>
                <a:srgbClr val="5CC4BF"/>
              </a:solid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endParaRPr lang="da-DK"/>
            </a:p>
          </p:txBody>
        </p:sp>
        <p:sp>
          <p:nvSpPr>
            <p:cNvPr id="16" name="Rektangel: afrundede hjørner 5">
              <a:extLst>
                <a:ext uri="{FF2B5EF4-FFF2-40B4-BE49-F238E27FC236}">
                  <a16:creationId xmlns:a16="http://schemas.microsoft.com/office/drawing/2014/main" id="{97B9824C-C3D1-986B-5502-B2CE93CF71C7}"/>
                </a:ext>
              </a:extLst>
            </p:cNvPr>
            <p:cNvSpPr txBox="1"/>
            <p:nvPr/>
          </p:nvSpPr>
          <p:spPr>
            <a:xfrm>
              <a:off x="3998355" y="1469185"/>
              <a:ext cx="2847502" cy="176801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a-DK" sz="1600" b="1" kern="1200" dirty="0">
                  <a:solidFill>
                    <a:srgbClr val="5CC4BF"/>
                  </a:solidFill>
                </a:rPr>
                <a:t>Vedhæft bilag</a:t>
              </a:r>
              <a:endParaRPr lang="en-US" sz="1600" b="1" kern="1200" dirty="0">
                <a:solidFill>
                  <a:srgbClr val="5CC4BF"/>
                </a:solidFill>
              </a:endParaRPr>
            </a:p>
          </p:txBody>
        </p:sp>
      </p:grpSp>
      <p:sp>
        <p:nvSpPr>
          <p:cNvPr id="3" name="Tekstfelt 2">
            <a:extLst>
              <a:ext uri="{FF2B5EF4-FFF2-40B4-BE49-F238E27FC236}">
                <a16:creationId xmlns:a16="http://schemas.microsoft.com/office/drawing/2014/main" id="{62127AF1-F358-ED3B-7C37-DDB9BB5448BB}"/>
              </a:ext>
            </a:extLst>
          </p:cNvPr>
          <p:cNvSpPr txBox="1"/>
          <p:nvPr/>
        </p:nvSpPr>
        <p:spPr>
          <a:xfrm>
            <a:off x="1596041" y="5656465"/>
            <a:ext cx="9008594" cy="338554"/>
          </a:xfrm>
          <a:prstGeom prst="rect">
            <a:avLst/>
          </a:prstGeom>
          <a:noFill/>
        </p:spPr>
        <p:txBody>
          <a:bodyPr wrap="square" rtlCol="0">
            <a:spAutoFit/>
          </a:bodyPr>
          <a:lstStyle/>
          <a:p>
            <a:pPr algn="ctr"/>
            <a:r>
              <a:rPr lang="da-DK" sz="1600" b="1" dirty="0"/>
              <a:t>Vejledning 6c Bogføring – vedhæftning af bilag og 30b Uniconta Upload</a:t>
            </a:r>
          </a:p>
        </p:txBody>
      </p:sp>
    </p:spTree>
    <p:extLst>
      <p:ext uri="{BB962C8B-B14F-4D97-AF65-F5344CB8AC3E}">
        <p14:creationId xmlns:p14="http://schemas.microsoft.com/office/powerpoint/2010/main" val="307848382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1">
            <a:extLst>
              <a:ext uri="{FF2B5EF4-FFF2-40B4-BE49-F238E27FC236}">
                <a16:creationId xmlns:a16="http://schemas.microsoft.com/office/drawing/2014/main" id="{A5B05232-A7AE-389D-EA8C-5DC66E37A859}"/>
              </a:ext>
            </a:extLst>
          </p:cNvPr>
          <p:cNvSpPr>
            <a:spLocks noGrp="1"/>
          </p:cNvSpPr>
          <p:nvPr>
            <p:ph type="title"/>
          </p:nvPr>
        </p:nvSpPr>
        <p:spPr/>
        <p:txBody>
          <a:bodyPr/>
          <a:lstStyle/>
          <a:p>
            <a:r>
              <a:rPr lang="da-DK"/>
              <a:t>Demonstration og </a:t>
            </a:r>
            <a:r>
              <a:rPr lang="da-DK" err="1"/>
              <a:t>hands-on</a:t>
            </a:r>
            <a:r>
              <a:rPr lang="da-DK"/>
              <a:t> i</a:t>
            </a:r>
          </a:p>
        </p:txBody>
      </p:sp>
      <p:sp>
        <p:nvSpPr>
          <p:cNvPr id="4" name="Pladsholder til sidefod 3">
            <a:extLst>
              <a:ext uri="{FF2B5EF4-FFF2-40B4-BE49-F238E27FC236}">
                <a16:creationId xmlns:a16="http://schemas.microsoft.com/office/drawing/2014/main" id="{70C7B388-563F-861C-A3FB-71D8D18891EF}"/>
              </a:ext>
            </a:extLst>
          </p:cNvPr>
          <p:cNvSpPr>
            <a:spLocks noGrp="1"/>
          </p:cNvSpPr>
          <p:nvPr>
            <p:ph type="ftr" sz="quarter" idx="11"/>
          </p:nvPr>
        </p:nvSpPr>
        <p:spPr/>
        <p:txBody>
          <a:bodyPr/>
          <a:lstStyle/>
          <a:p>
            <a:r>
              <a:rPr lang="da-DK"/>
              <a:t>RØDE KORS / Introduktionskursus for nye kasserere / 2025</a:t>
            </a:r>
          </a:p>
        </p:txBody>
      </p:sp>
      <p:pic>
        <p:nvPicPr>
          <p:cNvPr id="5" name="Picture 4" descr="Et billede, der indeholder Font/skrifttype, skærmbillede, Grafik, grafisk design&#10;&#10;Automatisk genereret beskrivelse">
            <a:extLst>
              <a:ext uri="{FF2B5EF4-FFF2-40B4-BE49-F238E27FC236}">
                <a16:creationId xmlns:a16="http://schemas.microsoft.com/office/drawing/2014/main" id="{866BB497-4C27-99F9-BEFD-FA608E2BBBA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34926" b="32361"/>
          <a:stretch/>
        </p:blipFill>
        <p:spPr bwMode="auto">
          <a:xfrm>
            <a:off x="2666998" y="538973"/>
            <a:ext cx="6858000" cy="2303429"/>
          </a:xfrm>
          <a:prstGeom prst="rect">
            <a:avLst/>
          </a:prstGeom>
          <a:noFill/>
          <a:extLst>
            <a:ext uri="{909E8E84-426E-40DD-AFC4-6F175D3DCCD1}">
              <a14:hiddenFill xmlns:a14="http://schemas.microsoft.com/office/drawing/2010/main">
                <a:solidFill>
                  <a:srgbClr val="FFFFFF"/>
                </a:solidFill>
              </a14:hiddenFill>
            </a:ext>
          </a:extLst>
        </p:spPr>
      </p:pic>
      <p:sp>
        <p:nvSpPr>
          <p:cNvPr id="13" name="Rektangel: afrundede hjørner 12">
            <a:extLst>
              <a:ext uri="{FF2B5EF4-FFF2-40B4-BE49-F238E27FC236}">
                <a16:creationId xmlns:a16="http://schemas.microsoft.com/office/drawing/2014/main" id="{B31EF8FF-EEC6-5DB0-56CC-D5F439CCE46E}"/>
              </a:ext>
            </a:extLst>
          </p:cNvPr>
          <p:cNvSpPr/>
          <p:nvPr/>
        </p:nvSpPr>
        <p:spPr>
          <a:xfrm>
            <a:off x="4452937" y="2798440"/>
            <a:ext cx="2957512" cy="1878020"/>
          </a:xfrm>
          <a:prstGeom prst="roundRect">
            <a:avLst>
              <a:gd name="adj" fmla="val 10000"/>
            </a:avLst>
          </a:prstGeom>
          <a:solidFill>
            <a:srgbClr val="5CC4BF"/>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da-DK"/>
          </a:p>
        </p:txBody>
      </p:sp>
      <p:grpSp>
        <p:nvGrpSpPr>
          <p:cNvPr id="14" name="Gruppe 13">
            <a:extLst>
              <a:ext uri="{FF2B5EF4-FFF2-40B4-BE49-F238E27FC236}">
                <a16:creationId xmlns:a16="http://schemas.microsoft.com/office/drawing/2014/main" id="{4D6471A8-9BB8-0344-B6A9-FBC756C512E5}"/>
              </a:ext>
            </a:extLst>
          </p:cNvPr>
          <p:cNvGrpSpPr/>
          <p:nvPr/>
        </p:nvGrpSpPr>
        <p:grpSpPr>
          <a:xfrm>
            <a:off x="4781550" y="3110622"/>
            <a:ext cx="2957512" cy="1878020"/>
            <a:chOff x="3943350" y="1414180"/>
            <a:chExt cx="2957512" cy="1878020"/>
          </a:xfrm>
        </p:grpSpPr>
        <p:sp>
          <p:nvSpPr>
            <p:cNvPr id="15" name="Rektangel: afrundede hjørner 14">
              <a:extLst>
                <a:ext uri="{FF2B5EF4-FFF2-40B4-BE49-F238E27FC236}">
                  <a16:creationId xmlns:a16="http://schemas.microsoft.com/office/drawing/2014/main" id="{0952F745-70BF-3436-9634-5EFF955BDCA6}"/>
                </a:ext>
              </a:extLst>
            </p:cNvPr>
            <p:cNvSpPr/>
            <p:nvPr/>
          </p:nvSpPr>
          <p:spPr>
            <a:xfrm>
              <a:off x="3943350" y="1414180"/>
              <a:ext cx="2957512" cy="1878020"/>
            </a:xfrm>
            <a:prstGeom prst="roundRect">
              <a:avLst>
                <a:gd name="adj" fmla="val 10000"/>
              </a:avLst>
            </a:prstGeom>
            <a:solidFill>
              <a:schemeClr val="lt1">
                <a:hueOff val="0"/>
                <a:satOff val="0"/>
                <a:lumOff val="0"/>
                <a:alpha val="95000"/>
              </a:schemeClr>
            </a:solidFill>
            <a:ln>
              <a:solidFill>
                <a:srgbClr val="5CC4BF"/>
              </a:solid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endParaRPr lang="da-DK"/>
            </a:p>
          </p:txBody>
        </p:sp>
        <p:sp>
          <p:nvSpPr>
            <p:cNvPr id="16" name="Rektangel: afrundede hjørner 5">
              <a:extLst>
                <a:ext uri="{FF2B5EF4-FFF2-40B4-BE49-F238E27FC236}">
                  <a16:creationId xmlns:a16="http://schemas.microsoft.com/office/drawing/2014/main" id="{97B9824C-C3D1-986B-5502-B2CE93CF71C7}"/>
                </a:ext>
              </a:extLst>
            </p:cNvPr>
            <p:cNvSpPr txBox="1"/>
            <p:nvPr/>
          </p:nvSpPr>
          <p:spPr>
            <a:xfrm>
              <a:off x="3998355" y="1469185"/>
              <a:ext cx="2847502" cy="176801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a-DK" sz="1600" b="1" kern="1200" dirty="0">
                  <a:solidFill>
                    <a:srgbClr val="5CC4BF"/>
                  </a:solidFill>
                </a:rPr>
                <a:t>Øremærkede midler mv.</a:t>
              </a:r>
              <a:endParaRPr lang="en-US" sz="1600" b="1" kern="1200" dirty="0">
                <a:solidFill>
                  <a:srgbClr val="5CC4BF"/>
                </a:solidFill>
              </a:endParaRPr>
            </a:p>
          </p:txBody>
        </p:sp>
      </p:grpSp>
      <p:sp>
        <p:nvSpPr>
          <p:cNvPr id="3" name="Tekstfelt 2">
            <a:extLst>
              <a:ext uri="{FF2B5EF4-FFF2-40B4-BE49-F238E27FC236}">
                <a16:creationId xmlns:a16="http://schemas.microsoft.com/office/drawing/2014/main" id="{62127AF1-F358-ED3B-7C37-DDB9BB5448BB}"/>
              </a:ext>
            </a:extLst>
          </p:cNvPr>
          <p:cNvSpPr txBox="1"/>
          <p:nvPr/>
        </p:nvSpPr>
        <p:spPr>
          <a:xfrm>
            <a:off x="1596041" y="5656465"/>
            <a:ext cx="9008594" cy="338554"/>
          </a:xfrm>
          <a:prstGeom prst="rect">
            <a:avLst/>
          </a:prstGeom>
          <a:noFill/>
        </p:spPr>
        <p:txBody>
          <a:bodyPr wrap="square" rtlCol="0">
            <a:spAutoFit/>
          </a:bodyPr>
          <a:lstStyle/>
          <a:p>
            <a:pPr algn="ctr"/>
            <a:r>
              <a:rPr lang="da-DK" sz="1600" b="1" dirty="0"/>
              <a:t>Vejledning 6h Bogføring – øremærkede midler, hensættelser, periodisering</a:t>
            </a:r>
          </a:p>
        </p:txBody>
      </p:sp>
    </p:spTree>
    <p:extLst>
      <p:ext uri="{BB962C8B-B14F-4D97-AF65-F5344CB8AC3E}">
        <p14:creationId xmlns:p14="http://schemas.microsoft.com/office/powerpoint/2010/main" val="147453543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1">
            <a:extLst>
              <a:ext uri="{FF2B5EF4-FFF2-40B4-BE49-F238E27FC236}">
                <a16:creationId xmlns:a16="http://schemas.microsoft.com/office/drawing/2014/main" id="{A5B05232-A7AE-389D-EA8C-5DC66E37A859}"/>
              </a:ext>
            </a:extLst>
          </p:cNvPr>
          <p:cNvSpPr>
            <a:spLocks noGrp="1"/>
          </p:cNvSpPr>
          <p:nvPr>
            <p:ph type="title"/>
          </p:nvPr>
        </p:nvSpPr>
        <p:spPr/>
        <p:txBody>
          <a:bodyPr/>
          <a:lstStyle/>
          <a:p>
            <a:r>
              <a:rPr lang="da-DK"/>
              <a:t>Demonstration og </a:t>
            </a:r>
            <a:r>
              <a:rPr lang="da-DK" err="1"/>
              <a:t>hands-on</a:t>
            </a:r>
            <a:r>
              <a:rPr lang="da-DK"/>
              <a:t> i</a:t>
            </a:r>
          </a:p>
        </p:txBody>
      </p:sp>
      <p:sp>
        <p:nvSpPr>
          <p:cNvPr id="4" name="Pladsholder til sidefod 3">
            <a:extLst>
              <a:ext uri="{FF2B5EF4-FFF2-40B4-BE49-F238E27FC236}">
                <a16:creationId xmlns:a16="http://schemas.microsoft.com/office/drawing/2014/main" id="{70C7B388-563F-861C-A3FB-71D8D18891EF}"/>
              </a:ext>
            </a:extLst>
          </p:cNvPr>
          <p:cNvSpPr>
            <a:spLocks noGrp="1"/>
          </p:cNvSpPr>
          <p:nvPr>
            <p:ph type="ftr" sz="quarter" idx="11"/>
          </p:nvPr>
        </p:nvSpPr>
        <p:spPr/>
        <p:txBody>
          <a:bodyPr/>
          <a:lstStyle/>
          <a:p>
            <a:r>
              <a:rPr lang="da-DK"/>
              <a:t>RØDE KORS / Introduktionskursus for nye kasserere / 2025</a:t>
            </a:r>
          </a:p>
        </p:txBody>
      </p:sp>
      <p:pic>
        <p:nvPicPr>
          <p:cNvPr id="5" name="Picture 4" descr="Et billede, der indeholder Font/skrifttype, skærmbillede, Grafik, grafisk design&#10;&#10;Automatisk genereret beskrivelse">
            <a:extLst>
              <a:ext uri="{FF2B5EF4-FFF2-40B4-BE49-F238E27FC236}">
                <a16:creationId xmlns:a16="http://schemas.microsoft.com/office/drawing/2014/main" id="{866BB497-4C27-99F9-BEFD-FA608E2BBBA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34926" b="32361"/>
          <a:stretch/>
        </p:blipFill>
        <p:spPr bwMode="auto">
          <a:xfrm>
            <a:off x="2666998" y="538973"/>
            <a:ext cx="6858000" cy="2303429"/>
          </a:xfrm>
          <a:prstGeom prst="rect">
            <a:avLst/>
          </a:prstGeom>
          <a:noFill/>
          <a:extLst>
            <a:ext uri="{909E8E84-426E-40DD-AFC4-6F175D3DCCD1}">
              <a14:hiddenFill xmlns:a14="http://schemas.microsoft.com/office/drawing/2010/main">
                <a:solidFill>
                  <a:srgbClr val="FFFFFF"/>
                </a:solidFill>
              </a14:hiddenFill>
            </a:ext>
          </a:extLst>
        </p:spPr>
      </p:pic>
      <p:sp>
        <p:nvSpPr>
          <p:cNvPr id="13" name="Rektangel: afrundede hjørner 12">
            <a:extLst>
              <a:ext uri="{FF2B5EF4-FFF2-40B4-BE49-F238E27FC236}">
                <a16:creationId xmlns:a16="http://schemas.microsoft.com/office/drawing/2014/main" id="{B31EF8FF-EEC6-5DB0-56CC-D5F439CCE46E}"/>
              </a:ext>
            </a:extLst>
          </p:cNvPr>
          <p:cNvSpPr/>
          <p:nvPr/>
        </p:nvSpPr>
        <p:spPr>
          <a:xfrm>
            <a:off x="4452937" y="2798440"/>
            <a:ext cx="2957512" cy="1878020"/>
          </a:xfrm>
          <a:prstGeom prst="roundRect">
            <a:avLst>
              <a:gd name="adj" fmla="val 10000"/>
            </a:avLst>
          </a:prstGeom>
          <a:solidFill>
            <a:srgbClr val="5CC4BF"/>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da-DK"/>
          </a:p>
        </p:txBody>
      </p:sp>
      <p:grpSp>
        <p:nvGrpSpPr>
          <p:cNvPr id="14" name="Gruppe 13">
            <a:extLst>
              <a:ext uri="{FF2B5EF4-FFF2-40B4-BE49-F238E27FC236}">
                <a16:creationId xmlns:a16="http://schemas.microsoft.com/office/drawing/2014/main" id="{4D6471A8-9BB8-0344-B6A9-FBC756C512E5}"/>
              </a:ext>
            </a:extLst>
          </p:cNvPr>
          <p:cNvGrpSpPr/>
          <p:nvPr/>
        </p:nvGrpSpPr>
        <p:grpSpPr>
          <a:xfrm>
            <a:off x="4781550" y="3110622"/>
            <a:ext cx="2957512" cy="1878020"/>
            <a:chOff x="3943350" y="1414180"/>
            <a:chExt cx="2957512" cy="1878020"/>
          </a:xfrm>
        </p:grpSpPr>
        <p:sp>
          <p:nvSpPr>
            <p:cNvPr id="15" name="Rektangel: afrundede hjørner 14">
              <a:extLst>
                <a:ext uri="{FF2B5EF4-FFF2-40B4-BE49-F238E27FC236}">
                  <a16:creationId xmlns:a16="http://schemas.microsoft.com/office/drawing/2014/main" id="{0952F745-70BF-3436-9634-5EFF955BDCA6}"/>
                </a:ext>
              </a:extLst>
            </p:cNvPr>
            <p:cNvSpPr/>
            <p:nvPr/>
          </p:nvSpPr>
          <p:spPr>
            <a:xfrm>
              <a:off x="3943350" y="1414180"/>
              <a:ext cx="2957512" cy="1878020"/>
            </a:xfrm>
            <a:prstGeom prst="roundRect">
              <a:avLst>
                <a:gd name="adj" fmla="val 10000"/>
              </a:avLst>
            </a:prstGeom>
            <a:solidFill>
              <a:schemeClr val="lt1">
                <a:hueOff val="0"/>
                <a:satOff val="0"/>
                <a:lumOff val="0"/>
                <a:alpha val="95000"/>
              </a:schemeClr>
            </a:solidFill>
            <a:ln>
              <a:solidFill>
                <a:srgbClr val="5CC4BF"/>
              </a:solid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endParaRPr lang="da-DK"/>
            </a:p>
          </p:txBody>
        </p:sp>
        <p:sp>
          <p:nvSpPr>
            <p:cNvPr id="16" name="Rektangel: afrundede hjørner 5">
              <a:extLst>
                <a:ext uri="{FF2B5EF4-FFF2-40B4-BE49-F238E27FC236}">
                  <a16:creationId xmlns:a16="http://schemas.microsoft.com/office/drawing/2014/main" id="{97B9824C-C3D1-986B-5502-B2CE93CF71C7}"/>
                </a:ext>
              </a:extLst>
            </p:cNvPr>
            <p:cNvSpPr txBox="1"/>
            <p:nvPr/>
          </p:nvSpPr>
          <p:spPr>
            <a:xfrm>
              <a:off x="3998355" y="1469185"/>
              <a:ext cx="2847502" cy="176801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a-DK" sz="1600" b="1" kern="1200" dirty="0">
                  <a:solidFill>
                    <a:srgbClr val="5CC4BF"/>
                  </a:solidFill>
                </a:rPr>
                <a:t>Afstemning</a:t>
              </a:r>
              <a:endParaRPr lang="en-US" sz="1600" b="1" kern="1200" dirty="0">
                <a:solidFill>
                  <a:srgbClr val="5CC4BF"/>
                </a:solidFill>
              </a:endParaRPr>
            </a:p>
          </p:txBody>
        </p:sp>
      </p:grpSp>
      <p:sp>
        <p:nvSpPr>
          <p:cNvPr id="3" name="Tekstfelt 2">
            <a:extLst>
              <a:ext uri="{FF2B5EF4-FFF2-40B4-BE49-F238E27FC236}">
                <a16:creationId xmlns:a16="http://schemas.microsoft.com/office/drawing/2014/main" id="{62127AF1-F358-ED3B-7C37-DDB9BB5448BB}"/>
              </a:ext>
            </a:extLst>
          </p:cNvPr>
          <p:cNvSpPr txBox="1"/>
          <p:nvPr/>
        </p:nvSpPr>
        <p:spPr>
          <a:xfrm>
            <a:off x="1596041" y="5656465"/>
            <a:ext cx="9008594" cy="338554"/>
          </a:xfrm>
          <a:prstGeom prst="rect">
            <a:avLst/>
          </a:prstGeom>
          <a:noFill/>
        </p:spPr>
        <p:txBody>
          <a:bodyPr wrap="square" rtlCol="0">
            <a:spAutoFit/>
          </a:bodyPr>
          <a:lstStyle/>
          <a:p>
            <a:pPr algn="ctr"/>
            <a:r>
              <a:rPr lang="da-DK" sz="1600" b="1" dirty="0"/>
              <a:t>Vejledning 9a Afstemning og 9b Bankafstemning i Uniconta</a:t>
            </a:r>
          </a:p>
        </p:txBody>
      </p:sp>
    </p:spTree>
    <p:extLst>
      <p:ext uri="{BB962C8B-B14F-4D97-AF65-F5344CB8AC3E}">
        <p14:creationId xmlns:p14="http://schemas.microsoft.com/office/powerpoint/2010/main" val="265360984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1">
            <a:extLst>
              <a:ext uri="{FF2B5EF4-FFF2-40B4-BE49-F238E27FC236}">
                <a16:creationId xmlns:a16="http://schemas.microsoft.com/office/drawing/2014/main" id="{A5B05232-A7AE-389D-EA8C-5DC66E37A859}"/>
              </a:ext>
            </a:extLst>
          </p:cNvPr>
          <p:cNvSpPr>
            <a:spLocks noGrp="1"/>
          </p:cNvSpPr>
          <p:nvPr>
            <p:ph type="title"/>
          </p:nvPr>
        </p:nvSpPr>
        <p:spPr/>
        <p:txBody>
          <a:bodyPr/>
          <a:lstStyle/>
          <a:p>
            <a:r>
              <a:rPr lang="da-DK" dirty="0"/>
              <a:t>Demonstration og </a:t>
            </a:r>
            <a:r>
              <a:rPr lang="da-DK" dirty="0" err="1"/>
              <a:t>hands-on</a:t>
            </a:r>
            <a:r>
              <a:rPr lang="da-DK" dirty="0"/>
              <a:t> i</a:t>
            </a:r>
          </a:p>
        </p:txBody>
      </p:sp>
      <p:graphicFrame>
        <p:nvGraphicFramePr>
          <p:cNvPr id="9" name="Pladsholder til indhold 2">
            <a:extLst>
              <a:ext uri="{FF2B5EF4-FFF2-40B4-BE49-F238E27FC236}">
                <a16:creationId xmlns:a16="http://schemas.microsoft.com/office/drawing/2014/main" id="{3466F46D-62C2-E839-6832-EDCF460CACBD}"/>
              </a:ext>
            </a:extLst>
          </p:cNvPr>
          <p:cNvGraphicFramePr>
            <a:graphicFrameLocks noGrp="1"/>
          </p:cNvGraphicFramePr>
          <p:nvPr>
            <p:ph idx="1"/>
            <p:extLst>
              <p:ext uri="{D42A27DB-BD31-4B8C-83A1-F6EECF244321}">
                <p14:modId xmlns:p14="http://schemas.microsoft.com/office/powerpoint/2010/main" val="2739295358"/>
              </p:ext>
            </p:extLst>
          </p:nvPr>
        </p:nvGraphicFramePr>
        <p:xfrm>
          <a:off x="838200" y="1825625"/>
          <a:ext cx="10515600" cy="4394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Pladsholder til sidefod 3">
            <a:extLst>
              <a:ext uri="{FF2B5EF4-FFF2-40B4-BE49-F238E27FC236}">
                <a16:creationId xmlns:a16="http://schemas.microsoft.com/office/drawing/2014/main" id="{70C7B388-563F-861C-A3FB-71D8D18891EF}"/>
              </a:ext>
            </a:extLst>
          </p:cNvPr>
          <p:cNvSpPr>
            <a:spLocks noGrp="1"/>
          </p:cNvSpPr>
          <p:nvPr>
            <p:ph type="ftr" sz="quarter" idx="11"/>
          </p:nvPr>
        </p:nvSpPr>
        <p:spPr/>
        <p:txBody>
          <a:bodyPr/>
          <a:lstStyle/>
          <a:p>
            <a:r>
              <a:rPr lang="da-DK"/>
              <a:t>RØDE KORS / Introduktionskursus for nye kasserere / 2025</a:t>
            </a:r>
          </a:p>
        </p:txBody>
      </p:sp>
      <p:pic>
        <p:nvPicPr>
          <p:cNvPr id="5" name="Picture 4" descr="Et billede, der indeholder Font/skrifttype, skærmbillede, Grafik, grafisk design&#10;&#10;Automatisk genereret beskrivelse">
            <a:extLst>
              <a:ext uri="{FF2B5EF4-FFF2-40B4-BE49-F238E27FC236}">
                <a16:creationId xmlns:a16="http://schemas.microsoft.com/office/drawing/2014/main" id="{866BB497-4C27-99F9-BEFD-FA608E2BBBA4}"/>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34926" b="32361"/>
          <a:stretch/>
        </p:blipFill>
        <p:spPr bwMode="auto">
          <a:xfrm>
            <a:off x="2666998" y="538973"/>
            <a:ext cx="6858000" cy="2303429"/>
          </a:xfrm>
          <a:prstGeom prst="rect">
            <a:avLst/>
          </a:prstGeom>
          <a:noFill/>
          <a:extLst>
            <a:ext uri="{909E8E84-426E-40DD-AFC4-6F175D3DCCD1}">
              <a14:hiddenFill xmlns:a14="http://schemas.microsoft.com/office/drawing/2010/main">
                <a:solidFill>
                  <a:srgbClr val="FFFFFF"/>
                </a:solidFill>
              </a14:hiddenFill>
            </a:ext>
          </a:extLst>
        </p:spPr>
      </p:pic>
      <p:sp>
        <p:nvSpPr>
          <p:cNvPr id="3" name="Tekstfelt 2">
            <a:extLst>
              <a:ext uri="{FF2B5EF4-FFF2-40B4-BE49-F238E27FC236}">
                <a16:creationId xmlns:a16="http://schemas.microsoft.com/office/drawing/2014/main" id="{9489CD9A-EF62-67B9-6B82-B4ED3D055A03}"/>
              </a:ext>
            </a:extLst>
          </p:cNvPr>
          <p:cNvSpPr txBox="1"/>
          <p:nvPr/>
        </p:nvSpPr>
        <p:spPr>
          <a:xfrm>
            <a:off x="838198" y="5656465"/>
            <a:ext cx="10534651" cy="584775"/>
          </a:xfrm>
          <a:prstGeom prst="rect">
            <a:avLst/>
          </a:prstGeom>
          <a:noFill/>
        </p:spPr>
        <p:txBody>
          <a:bodyPr wrap="square" rtlCol="0">
            <a:spAutoFit/>
          </a:bodyPr>
          <a:lstStyle/>
          <a:p>
            <a:pPr algn="ctr"/>
            <a:r>
              <a:rPr lang="da-DK" sz="1600" b="1" dirty="0"/>
              <a:t>Vejledning 6d Bogføring – slet og ret bogført postering eller kassekladde</a:t>
            </a:r>
            <a:br>
              <a:rPr lang="da-DK" sz="1600" b="1" dirty="0"/>
            </a:br>
            <a:r>
              <a:rPr lang="da-DK" sz="1600" b="1" dirty="0"/>
              <a:t>og 8 Saldobalance – kontokort - standardrapporter</a:t>
            </a:r>
          </a:p>
        </p:txBody>
      </p:sp>
    </p:spTree>
    <p:extLst>
      <p:ext uri="{BB962C8B-B14F-4D97-AF65-F5344CB8AC3E}">
        <p14:creationId xmlns:p14="http://schemas.microsoft.com/office/powerpoint/2010/main" val="241447165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4D9DD7-F862-AD72-3EA7-4D3720E813E3}"/>
              </a:ext>
            </a:extLst>
          </p:cNvPr>
          <p:cNvSpPr>
            <a:spLocks noGrp="1"/>
          </p:cNvSpPr>
          <p:nvPr>
            <p:ph type="title"/>
          </p:nvPr>
        </p:nvSpPr>
        <p:spPr>
          <a:xfrm>
            <a:off x="838200" y="694308"/>
            <a:ext cx="10515600" cy="966788"/>
          </a:xfrm>
        </p:spPr>
        <p:txBody>
          <a:bodyPr/>
          <a:lstStyle/>
          <a:p>
            <a:r>
              <a:rPr lang="da-DK"/>
              <a:t>Bogfør butik –</a:t>
            </a:r>
            <a:br>
              <a:rPr lang="da-DK"/>
            </a:br>
            <a:r>
              <a:rPr lang="da-DK"/>
              <a:t>ramme</a:t>
            </a:r>
          </a:p>
        </p:txBody>
      </p:sp>
      <p:sp>
        <p:nvSpPr>
          <p:cNvPr id="4" name="Footer Placeholder 3">
            <a:extLst>
              <a:ext uri="{FF2B5EF4-FFF2-40B4-BE49-F238E27FC236}">
                <a16:creationId xmlns:a16="http://schemas.microsoft.com/office/drawing/2014/main" id="{E568EB62-C44D-8AEC-2D86-636913691070}"/>
              </a:ext>
            </a:extLst>
          </p:cNvPr>
          <p:cNvSpPr>
            <a:spLocks noGrp="1"/>
          </p:cNvSpPr>
          <p:nvPr>
            <p:ph type="ftr" sz="quarter" idx="11"/>
          </p:nvPr>
        </p:nvSpPr>
        <p:spPr/>
        <p:txBody>
          <a:bodyPr/>
          <a:lstStyle/>
          <a:p>
            <a:r>
              <a:rPr lang="da-DK"/>
              <a:t>RØDE KORS / Introduktionskursus for nye kasserere / 2025</a:t>
            </a:r>
          </a:p>
        </p:txBody>
      </p:sp>
      <p:cxnSp>
        <p:nvCxnSpPr>
          <p:cNvPr id="8" name="Straight Connector 9">
            <a:extLst>
              <a:ext uri="{FF2B5EF4-FFF2-40B4-BE49-F238E27FC236}">
                <a16:creationId xmlns:a16="http://schemas.microsoft.com/office/drawing/2014/main" id="{15407F8C-4B58-55CF-87DE-7145104CE4D1}"/>
              </a:ext>
            </a:extLst>
          </p:cNvPr>
          <p:cNvCxnSpPr>
            <a:cxnSpLocks/>
          </p:cNvCxnSpPr>
          <p:nvPr/>
        </p:nvCxnSpPr>
        <p:spPr>
          <a:xfrm>
            <a:off x="2285192" y="3257855"/>
            <a:ext cx="1591069" cy="0"/>
          </a:xfrm>
          <a:prstGeom prst="line">
            <a:avLst/>
          </a:prstGeom>
          <a:ln w="12700">
            <a:solidFill>
              <a:srgbClr val="C8171E"/>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9" name="Straight Connector 54">
            <a:extLst>
              <a:ext uri="{FF2B5EF4-FFF2-40B4-BE49-F238E27FC236}">
                <a16:creationId xmlns:a16="http://schemas.microsoft.com/office/drawing/2014/main" id="{FF69D13E-6F55-439E-32F7-4A2070F4B212}"/>
              </a:ext>
            </a:extLst>
          </p:cNvPr>
          <p:cNvCxnSpPr>
            <a:cxnSpLocks/>
          </p:cNvCxnSpPr>
          <p:nvPr/>
        </p:nvCxnSpPr>
        <p:spPr>
          <a:xfrm>
            <a:off x="2256136" y="4695193"/>
            <a:ext cx="1620125" cy="0"/>
          </a:xfrm>
          <a:prstGeom prst="line">
            <a:avLst/>
          </a:prstGeom>
          <a:ln w="12700">
            <a:solidFill>
              <a:srgbClr val="C8171E"/>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0" name="Straight Connector 55">
            <a:extLst>
              <a:ext uri="{FF2B5EF4-FFF2-40B4-BE49-F238E27FC236}">
                <a16:creationId xmlns:a16="http://schemas.microsoft.com/office/drawing/2014/main" id="{58E8E4B3-9366-72DA-0D2B-CB7C6AAB8A0F}"/>
              </a:ext>
            </a:extLst>
          </p:cNvPr>
          <p:cNvCxnSpPr>
            <a:cxnSpLocks/>
          </p:cNvCxnSpPr>
          <p:nvPr/>
        </p:nvCxnSpPr>
        <p:spPr>
          <a:xfrm>
            <a:off x="2248376" y="6061214"/>
            <a:ext cx="1648446" cy="0"/>
          </a:xfrm>
          <a:prstGeom prst="line">
            <a:avLst/>
          </a:prstGeom>
          <a:ln w="12700">
            <a:solidFill>
              <a:srgbClr val="C8171E"/>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1" name="Straight Connector 56">
            <a:extLst>
              <a:ext uri="{FF2B5EF4-FFF2-40B4-BE49-F238E27FC236}">
                <a16:creationId xmlns:a16="http://schemas.microsoft.com/office/drawing/2014/main" id="{599FD3F2-599D-A813-25C9-C1C9FC3DD716}"/>
              </a:ext>
            </a:extLst>
          </p:cNvPr>
          <p:cNvCxnSpPr>
            <a:cxnSpLocks/>
          </p:cNvCxnSpPr>
          <p:nvPr/>
        </p:nvCxnSpPr>
        <p:spPr>
          <a:xfrm>
            <a:off x="2965450" y="5355072"/>
            <a:ext cx="910811" cy="0"/>
          </a:xfrm>
          <a:prstGeom prst="line">
            <a:avLst/>
          </a:prstGeom>
          <a:ln w="12700">
            <a:solidFill>
              <a:srgbClr val="961116"/>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12" name="Straight Connector 57">
            <a:extLst>
              <a:ext uri="{FF2B5EF4-FFF2-40B4-BE49-F238E27FC236}">
                <a16:creationId xmlns:a16="http://schemas.microsoft.com/office/drawing/2014/main" id="{D3CE1AFB-A156-DAD4-316A-60C35910FCB8}"/>
              </a:ext>
            </a:extLst>
          </p:cNvPr>
          <p:cNvCxnSpPr>
            <a:cxnSpLocks/>
          </p:cNvCxnSpPr>
          <p:nvPr/>
        </p:nvCxnSpPr>
        <p:spPr>
          <a:xfrm>
            <a:off x="2918451" y="3992822"/>
            <a:ext cx="957810" cy="0"/>
          </a:xfrm>
          <a:prstGeom prst="line">
            <a:avLst/>
          </a:prstGeom>
          <a:ln w="12700">
            <a:solidFill>
              <a:srgbClr val="961116"/>
            </a:solidFill>
            <a:tailEnd type="oval" w="med" len="med"/>
          </a:ln>
        </p:spPr>
        <p:style>
          <a:lnRef idx="1">
            <a:schemeClr val="accent1"/>
          </a:lnRef>
          <a:fillRef idx="0">
            <a:schemeClr val="accent1"/>
          </a:fillRef>
          <a:effectRef idx="0">
            <a:schemeClr val="accent1"/>
          </a:effectRef>
          <a:fontRef idx="minor">
            <a:schemeClr val="tx1"/>
          </a:fontRef>
        </p:style>
      </p:cxnSp>
      <p:sp>
        <p:nvSpPr>
          <p:cNvPr id="13" name="Rectangle 63">
            <a:extLst>
              <a:ext uri="{FF2B5EF4-FFF2-40B4-BE49-F238E27FC236}">
                <a16:creationId xmlns:a16="http://schemas.microsoft.com/office/drawing/2014/main" id="{D153C487-CD64-8A34-ECF8-7A94DDAC5BF9}"/>
              </a:ext>
            </a:extLst>
          </p:cNvPr>
          <p:cNvSpPr/>
          <p:nvPr/>
        </p:nvSpPr>
        <p:spPr>
          <a:xfrm rot="2716789">
            <a:off x="2044960" y="5573494"/>
            <a:ext cx="107426" cy="2343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defRPr>
            </a:lvl1pPr>
            <a:lvl2pPr marL="457200" algn="l" defTabSz="914400" rtl="0" eaLnBrk="1" latinLnBrk="0" hangingPunct="1">
              <a:defRPr sz="1800" kern="1200">
                <a:solidFill>
                  <a:srgbClr val="FFFFFF"/>
                </a:solidFill>
              </a:defRPr>
            </a:lvl2pPr>
            <a:lvl3pPr marL="914400" algn="l" defTabSz="914400" rtl="0" eaLnBrk="1" latinLnBrk="0" hangingPunct="1">
              <a:defRPr sz="1800" kern="1200">
                <a:solidFill>
                  <a:srgbClr val="FFFFFF"/>
                </a:solidFill>
              </a:defRPr>
            </a:lvl3pPr>
            <a:lvl4pPr marL="1371600" algn="l" defTabSz="914400" rtl="0" eaLnBrk="1" latinLnBrk="0" hangingPunct="1">
              <a:defRPr sz="1800" kern="1200">
                <a:solidFill>
                  <a:srgbClr val="FFFFFF"/>
                </a:solidFill>
              </a:defRPr>
            </a:lvl4pPr>
            <a:lvl5pPr marL="1828800" algn="l" defTabSz="914400" rtl="0" eaLnBrk="1" latinLnBrk="0" hangingPunct="1">
              <a:defRPr sz="1800" kern="1200">
                <a:solidFill>
                  <a:srgbClr val="FFFFFF"/>
                </a:solidFill>
              </a:defRPr>
            </a:lvl5pPr>
            <a:lvl6pPr marL="2286000" algn="l" defTabSz="914400" rtl="0" eaLnBrk="1" latinLnBrk="0" hangingPunct="1">
              <a:defRPr sz="1800" kern="1200">
                <a:solidFill>
                  <a:srgbClr val="FFFFFF"/>
                </a:solidFill>
              </a:defRPr>
            </a:lvl6pPr>
            <a:lvl7pPr marL="2743200" algn="l" defTabSz="914400" rtl="0" eaLnBrk="1" latinLnBrk="0" hangingPunct="1">
              <a:defRPr sz="1800" kern="1200">
                <a:solidFill>
                  <a:srgbClr val="FFFFFF"/>
                </a:solidFill>
              </a:defRPr>
            </a:lvl7pPr>
            <a:lvl8pPr marL="3200400" algn="l" defTabSz="914400" rtl="0" eaLnBrk="1" latinLnBrk="0" hangingPunct="1">
              <a:defRPr sz="1800" kern="1200">
                <a:solidFill>
                  <a:srgbClr val="FFFFFF"/>
                </a:solidFill>
              </a:defRPr>
            </a:lvl8pPr>
            <a:lvl9pPr marL="3657600" algn="l" defTabSz="914400" rtl="0" eaLnBrk="1" latinLnBrk="0" hangingPunct="1">
              <a:defRPr sz="1800" kern="1200">
                <a:solidFill>
                  <a:srgbClr val="FFFFFF"/>
                </a:solidFill>
              </a:defRPr>
            </a:lvl9pPr>
          </a:lstStyle>
          <a:p>
            <a:pPr algn="ctr"/>
            <a:endParaRPr lang="en-IN" sz="1800"/>
          </a:p>
        </p:txBody>
      </p:sp>
      <p:sp>
        <p:nvSpPr>
          <p:cNvPr id="14" name="Rectangle 62">
            <a:extLst>
              <a:ext uri="{FF2B5EF4-FFF2-40B4-BE49-F238E27FC236}">
                <a16:creationId xmlns:a16="http://schemas.microsoft.com/office/drawing/2014/main" id="{2B2543A6-7ED9-F9A6-025A-163744B25C90}"/>
              </a:ext>
            </a:extLst>
          </p:cNvPr>
          <p:cNvSpPr/>
          <p:nvPr/>
        </p:nvSpPr>
        <p:spPr>
          <a:xfrm rot="2716789">
            <a:off x="2056561" y="4224498"/>
            <a:ext cx="107426" cy="2343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defRPr>
            </a:lvl1pPr>
            <a:lvl2pPr marL="457200" algn="l" defTabSz="914400" rtl="0" eaLnBrk="1" latinLnBrk="0" hangingPunct="1">
              <a:defRPr sz="1800" kern="1200">
                <a:solidFill>
                  <a:srgbClr val="FFFFFF"/>
                </a:solidFill>
              </a:defRPr>
            </a:lvl2pPr>
            <a:lvl3pPr marL="914400" algn="l" defTabSz="914400" rtl="0" eaLnBrk="1" latinLnBrk="0" hangingPunct="1">
              <a:defRPr sz="1800" kern="1200">
                <a:solidFill>
                  <a:srgbClr val="FFFFFF"/>
                </a:solidFill>
              </a:defRPr>
            </a:lvl3pPr>
            <a:lvl4pPr marL="1371600" algn="l" defTabSz="914400" rtl="0" eaLnBrk="1" latinLnBrk="0" hangingPunct="1">
              <a:defRPr sz="1800" kern="1200">
                <a:solidFill>
                  <a:srgbClr val="FFFFFF"/>
                </a:solidFill>
              </a:defRPr>
            </a:lvl4pPr>
            <a:lvl5pPr marL="1828800" algn="l" defTabSz="914400" rtl="0" eaLnBrk="1" latinLnBrk="0" hangingPunct="1">
              <a:defRPr sz="1800" kern="1200">
                <a:solidFill>
                  <a:srgbClr val="FFFFFF"/>
                </a:solidFill>
              </a:defRPr>
            </a:lvl5pPr>
            <a:lvl6pPr marL="2286000" algn="l" defTabSz="914400" rtl="0" eaLnBrk="1" latinLnBrk="0" hangingPunct="1">
              <a:defRPr sz="1800" kern="1200">
                <a:solidFill>
                  <a:srgbClr val="FFFFFF"/>
                </a:solidFill>
              </a:defRPr>
            </a:lvl6pPr>
            <a:lvl7pPr marL="2743200" algn="l" defTabSz="914400" rtl="0" eaLnBrk="1" latinLnBrk="0" hangingPunct="1">
              <a:defRPr sz="1800" kern="1200">
                <a:solidFill>
                  <a:srgbClr val="FFFFFF"/>
                </a:solidFill>
              </a:defRPr>
            </a:lvl7pPr>
            <a:lvl8pPr marL="3200400" algn="l" defTabSz="914400" rtl="0" eaLnBrk="1" latinLnBrk="0" hangingPunct="1">
              <a:defRPr sz="1800" kern="1200">
                <a:solidFill>
                  <a:srgbClr val="FFFFFF"/>
                </a:solidFill>
              </a:defRPr>
            </a:lvl8pPr>
            <a:lvl9pPr marL="3657600" algn="l" defTabSz="914400" rtl="0" eaLnBrk="1" latinLnBrk="0" hangingPunct="1">
              <a:defRPr sz="1800" kern="1200">
                <a:solidFill>
                  <a:srgbClr val="FFFFFF"/>
                </a:solidFill>
              </a:defRPr>
            </a:lvl9pPr>
          </a:lstStyle>
          <a:p>
            <a:pPr algn="ctr"/>
            <a:endParaRPr lang="en-IN" sz="1800"/>
          </a:p>
        </p:txBody>
      </p:sp>
      <p:sp>
        <p:nvSpPr>
          <p:cNvPr id="15" name="Rectangle 45">
            <a:extLst>
              <a:ext uri="{FF2B5EF4-FFF2-40B4-BE49-F238E27FC236}">
                <a16:creationId xmlns:a16="http://schemas.microsoft.com/office/drawing/2014/main" id="{B6485148-1B15-BB07-2B62-5B0C35C44B3F}"/>
              </a:ext>
            </a:extLst>
          </p:cNvPr>
          <p:cNvSpPr/>
          <p:nvPr/>
        </p:nvSpPr>
        <p:spPr>
          <a:xfrm rot="18912836">
            <a:off x="2062995" y="4892339"/>
            <a:ext cx="107426" cy="234386"/>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defRPr>
            </a:lvl1pPr>
            <a:lvl2pPr marL="457200" algn="l" defTabSz="914400" rtl="0" eaLnBrk="1" latinLnBrk="0" hangingPunct="1">
              <a:defRPr sz="1800" kern="1200">
                <a:solidFill>
                  <a:srgbClr val="FFFFFF"/>
                </a:solidFill>
              </a:defRPr>
            </a:lvl2pPr>
            <a:lvl3pPr marL="914400" algn="l" defTabSz="914400" rtl="0" eaLnBrk="1" latinLnBrk="0" hangingPunct="1">
              <a:defRPr sz="1800" kern="1200">
                <a:solidFill>
                  <a:srgbClr val="FFFFFF"/>
                </a:solidFill>
              </a:defRPr>
            </a:lvl3pPr>
            <a:lvl4pPr marL="1371600" algn="l" defTabSz="914400" rtl="0" eaLnBrk="1" latinLnBrk="0" hangingPunct="1">
              <a:defRPr sz="1800" kern="1200">
                <a:solidFill>
                  <a:srgbClr val="FFFFFF"/>
                </a:solidFill>
              </a:defRPr>
            </a:lvl4pPr>
            <a:lvl5pPr marL="1828800" algn="l" defTabSz="914400" rtl="0" eaLnBrk="1" latinLnBrk="0" hangingPunct="1">
              <a:defRPr sz="1800" kern="1200">
                <a:solidFill>
                  <a:srgbClr val="FFFFFF"/>
                </a:solidFill>
              </a:defRPr>
            </a:lvl5pPr>
            <a:lvl6pPr marL="2286000" algn="l" defTabSz="914400" rtl="0" eaLnBrk="1" latinLnBrk="0" hangingPunct="1">
              <a:defRPr sz="1800" kern="1200">
                <a:solidFill>
                  <a:srgbClr val="FFFFFF"/>
                </a:solidFill>
              </a:defRPr>
            </a:lvl6pPr>
            <a:lvl7pPr marL="2743200" algn="l" defTabSz="914400" rtl="0" eaLnBrk="1" latinLnBrk="0" hangingPunct="1">
              <a:defRPr sz="1800" kern="1200">
                <a:solidFill>
                  <a:srgbClr val="FFFFFF"/>
                </a:solidFill>
              </a:defRPr>
            </a:lvl7pPr>
            <a:lvl8pPr marL="3200400" algn="l" defTabSz="914400" rtl="0" eaLnBrk="1" latinLnBrk="0" hangingPunct="1">
              <a:defRPr sz="1800" kern="1200">
                <a:solidFill>
                  <a:srgbClr val="FFFFFF"/>
                </a:solidFill>
              </a:defRPr>
            </a:lvl8pPr>
            <a:lvl9pPr marL="3657600" algn="l" defTabSz="914400" rtl="0" eaLnBrk="1" latinLnBrk="0" hangingPunct="1">
              <a:defRPr sz="1800" kern="1200">
                <a:solidFill>
                  <a:srgbClr val="FFFFFF"/>
                </a:solidFill>
              </a:defRPr>
            </a:lvl9pPr>
          </a:lstStyle>
          <a:p>
            <a:pPr algn="ctr"/>
            <a:endParaRPr lang="en-IN" sz="1800"/>
          </a:p>
        </p:txBody>
      </p:sp>
      <p:sp>
        <p:nvSpPr>
          <p:cNvPr id="16" name="Rectangle 16">
            <a:extLst>
              <a:ext uri="{FF2B5EF4-FFF2-40B4-BE49-F238E27FC236}">
                <a16:creationId xmlns:a16="http://schemas.microsoft.com/office/drawing/2014/main" id="{9A1CC307-2491-582C-2EF3-49E8423A9922}"/>
              </a:ext>
            </a:extLst>
          </p:cNvPr>
          <p:cNvSpPr/>
          <p:nvPr/>
        </p:nvSpPr>
        <p:spPr>
          <a:xfrm rot="18912836">
            <a:off x="2081742" y="3503784"/>
            <a:ext cx="107426" cy="234386"/>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defRPr>
            </a:lvl1pPr>
            <a:lvl2pPr marL="457200" algn="l" defTabSz="914400" rtl="0" eaLnBrk="1" latinLnBrk="0" hangingPunct="1">
              <a:defRPr sz="1800" kern="1200">
                <a:solidFill>
                  <a:srgbClr val="FFFFFF"/>
                </a:solidFill>
              </a:defRPr>
            </a:lvl2pPr>
            <a:lvl3pPr marL="914400" algn="l" defTabSz="914400" rtl="0" eaLnBrk="1" latinLnBrk="0" hangingPunct="1">
              <a:defRPr sz="1800" kern="1200">
                <a:solidFill>
                  <a:srgbClr val="FFFFFF"/>
                </a:solidFill>
              </a:defRPr>
            </a:lvl3pPr>
            <a:lvl4pPr marL="1371600" algn="l" defTabSz="914400" rtl="0" eaLnBrk="1" latinLnBrk="0" hangingPunct="1">
              <a:defRPr sz="1800" kern="1200">
                <a:solidFill>
                  <a:srgbClr val="FFFFFF"/>
                </a:solidFill>
              </a:defRPr>
            </a:lvl4pPr>
            <a:lvl5pPr marL="1828800" algn="l" defTabSz="914400" rtl="0" eaLnBrk="1" latinLnBrk="0" hangingPunct="1">
              <a:defRPr sz="1800" kern="1200">
                <a:solidFill>
                  <a:srgbClr val="FFFFFF"/>
                </a:solidFill>
              </a:defRPr>
            </a:lvl5pPr>
            <a:lvl6pPr marL="2286000" algn="l" defTabSz="914400" rtl="0" eaLnBrk="1" latinLnBrk="0" hangingPunct="1">
              <a:defRPr sz="1800" kern="1200">
                <a:solidFill>
                  <a:srgbClr val="FFFFFF"/>
                </a:solidFill>
              </a:defRPr>
            </a:lvl6pPr>
            <a:lvl7pPr marL="2743200" algn="l" defTabSz="914400" rtl="0" eaLnBrk="1" latinLnBrk="0" hangingPunct="1">
              <a:defRPr sz="1800" kern="1200">
                <a:solidFill>
                  <a:srgbClr val="FFFFFF"/>
                </a:solidFill>
              </a:defRPr>
            </a:lvl7pPr>
            <a:lvl8pPr marL="3200400" algn="l" defTabSz="914400" rtl="0" eaLnBrk="1" latinLnBrk="0" hangingPunct="1">
              <a:defRPr sz="1800" kern="1200">
                <a:solidFill>
                  <a:srgbClr val="FFFFFF"/>
                </a:solidFill>
              </a:defRPr>
            </a:lvl8pPr>
            <a:lvl9pPr marL="3657600" algn="l" defTabSz="914400" rtl="0" eaLnBrk="1" latinLnBrk="0" hangingPunct="1">
              <a:defRPr sz="1800" kern="1200">
                <a:solidFill>
                  <a:srgbClr val="FFFFFF"/>
                </a:solidFill>
              </a:defRPr>
            </a:lvl9pPr>
          </a:lstStyle>
          <a:p>
            <a:pPr algn="ctr"/>
            <a:endParaRPr lang="en-IN" sz="1800"/>
          </a:p>
        </p:txBody>
      </p:sp>
      <p:grpSp>
        <p:nvGrpSpPr>
          <p:cNvPr id="17" name="Group 3">
            <a:extLst>
              <a:ext uri="{FF2B5EF4-FFF2-40B4-BE49-F238E27FC236}">
                <a16:creationId xmlns:a16="http://schemas.microsoft.com/office/drawing/2014/main" id="{52765B0D-CE62-F048-AE50-5983E1C7DC47}"/>
              </a:ext>
            </a:extLst>
          </p:cNvPr>
          <p:cNvGrpSpPr/>
          <p:nvPr/>
        </p:nvGrpSpPr>
        <p:grpSpPr>
          <a:xfrm rot="2700000">
            <a:off x="1423789" y="2895202"/>
            <a:ext cx="745496" cy="745494"/>
            <a:chOff x="1120140" y="1554480"/>
            <a:chExt cx="1386840" cy="1386840"/>
          </a:xfrm>
        </p:grpSpPr>
        <p:sp>
          <p:nvSpPr>
            <p:cNvPr id="18" name="Rectangle: Rounded Corners 1">
              <a:extLst>
                <a:ext uri="{FF2B5EF4-FFF2-40B4-BE49-F238E27FC236}">
                  <a16:creationId xmlns:a16="http://schemas.microsoft.com/office/drawing/2014/main" id="{A6D3D1D4-DC56-E3A3-308C-8753298BB8E1}"/>
                </a:ext>
              </a:extLst>
            </p:cNvPr>
            <p:cNvSpPr/>
            <p:nvPr/>
          </p:nvSpPr>
          <p:spPr>
            <a:xfrm>
              <a:off x="1120140" y="1554480"/>
              <a:ext cx="1386840" cy="1386840"/>
            </a:xfrm>
            <a:prstGeom prst="roundRect">
              <a:avLst>
                <a:gd name="adj" fmla="val 842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defRPr>
              </a:lvl1pPr>
              <a:lvl2pPr marL="457200" algn="l" defTabSz="914400" rtl="0" eaLnBrk="1" latinLnBrk="0" hangingPunct="1">
                <a:defRPr sz="1800" kern="1200">
                  <a:solidFill>
                    <a:srgbClr val="FFFFFF"/>
                  </a:solidFill>
                </a:defRPr>
              </a:lvl2pPr>
              <a:lvl3pPr marL="914400" algn="l" defTabSz="914400" rtl="0" eaLnBrk="1" latinLnBrk="0" hangingPunct="1">
                <a:defRPr sz="1800" kern="1200">
                  <a:solidFill>
                    <a:srgbClr val="FFFFFF"/>
                  </a:solidFill>
                </a:defRPr>
              </a:lvl3pPr>
              <a:lvl4pPr marL="1371600" algn="l" defTabSz="914400" rtl="0" eaLnBrk="1" latinLnBrk="0" hangingPunct="1">
                <a:defRPr sz="1800" kern="1200">
                  <a:solidFill>
                    <a:srgbClr val="FFFFFF"/>
                  </a:solidFill>
                </a:defRPr>
              </a:lvl4pPr>
              <a:lvl5pPr marL="1828800" algn="l" defTabSz="914400" rtl="0" eaLnBrk="1" latinLnBrk="0" hangingPunct="1">
                <a:defRPr sz="1800" kern="1200">
                  <a:solidFill>
                    <a:srgbClr val="FFFFFF"/>
                  </a:solidFill>
                </a:defRPr>
              </a:lvl5pPr>
              <a:lvl6pPr marL="2286000" algn="l" defTabSz="914400" rtl="0" eaLnBrk="1" latinLnBrk="0" hangingPunct="1">
                <a:defRPr sz="1800" kern="1200">
                  <a:solidFill>
                    <a:srgbClr val="FFFFFF"/>
                  </a:solidFill>
                </a:defRPr>
              </a:lvl6pPr>
              <a:lvl7pPr marL="2743200" algn="l" defTabSz="914400" rtl="0" eaLnBrk="1" latinLnBrk="0" hangingPunct="1">
                <a:defRPr sz="1800" kern="1200">
                  <a:solidFill>
                    <a:srgbClr val="FFFFFF"/>
                  </a:solidFill>
                </a:defRPr>
              </a:lvl7pPr>
              <a:lvl8pPr marL="3200400" algn="l" defTabSz="914400" rtl="0" eaLnBrk="1" latinLnBrk="0" hangingPunct="1">
                <a:defRPr sz="1800" kern="1200">
                  <a:solidFill>
                    <a:srgbClr val="FFFFFF"/>
                  </a:solidFill>
                </a:defRPr>
              </a:lvl8pPr>
              <a:lvl9pPr marL="3657600" algn="l" defTabSz="914400" rtl="0" eaLnBrk="1" latinLnBrk="0" hangingPunct="1">
                <a:defRPr sz="1800" kern="1200">
                  <a:solidFill>
                    <a:srgbClr val="FFFFFF"/>
                  </a:solidFill>
                </a:defRPr>
              </a:lvl9pPr>
            </a:lstStyle>
            <a:p>
              <a:pPr algn="ctr"/>
              <a:endParaRPr lang="en-IN" sz="1800"/>
            </a:p>
          </p:txBody>
        </p:sp>
        <p:sp>
          <p:nvSpPr>
            <p:cNvPr id="19" name="Rectangle: Rounded Corners 33">
              <a:extLst>
                <a:ext uri="{FF2B5EF4-FFF2-40B4-BE49-F238E27FC236}">
                  <a16:creationId xmlns:a16="http://schemas.microsoft.com/office/drawing/2014/main" id="{835E25DC-FA6B-A3D6-8212-5AF54257C472}"/>
                </a:ext>
              </a:extLst>
            </p:cNvPr>
            <p:cNvSpPr/>
            <p:nvPr/>
          </p:nvSpPr>
          <p:spPr>
            <a:xfrm>
              <a:off x="1219200" y="1653540"/>
              <a:ext cx="1188720" cy="1188720"/>
            </a:xfrm>
            <a:prstGeom prst="roundRect">
              <a:avLst>
                <a:gd name="adj" fmla="val 7452"/>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defRPr>
              </a:lvl1pPr>
              <a:lvl2pPr marL="457200" algn="l" defTabSz="914400" rtl="0" eaLnBrk="1" latinLnBrk="0" hangingPunct="1">
                <a:defRPr sz="1800" kern="1200">
                  <a:solidFill>
                    <a:srgbClr val="FFFFFF"/>
                  </a:solidFill>
                </a:defRPr>
              </a:lvl2pPr>
              <a:lvl3pPr marL="914400" algn="l" defTabSz="914400" rtl="0" eaLnBrk="1" latinLnBrk="0" hangingPunct="1">
                <a:defRPr sz="1800" kern="1200">
                  <a:solidFill>
                    <a:srgbClr val="FFFFFF"/>
                  </a:solidFill>
                </a:defRPr>
              </a:lvl3pPr>
              <a:lvl4pPr marL="1371600" algn="l" defTabSz="914400" rtl="0" eaLnBrk="1" latinLnBrk="0" hangingPunct="1">
                <a:defRPr sz="1800" kern="1200">
                  <a:solidFill>
                    <a:srgbClr val="FFFFFF"/>
                  </a:solidFill>
                </a:defRPr>
              </a:lvl4pPr>
              <a:lvl5pPr marL="1828800" algn="l" defTabSz="914400" rtl="0" eaLnBrk="1" latinLnBrk="0" hangingPunct="1">
                <a:defRPr sz="1800" kern="1200">
                  <a:solidFill>
                    <a:srgbClr val="FFFFFF"/>
                  </a:solidFill>
                </a:defRPr>
              </a:lvl5pPr>
              <a:lvl6pPr marL="2286000" algn="l" defTabSz="914400" rtl="0" eaLnBrk="1" latinLnBrk="0" hangingPunct="1">
                <a:defRPr sz="1800" kern="1200">
                  <a:solidFill>
                    <a:srgbClr val="FFFFFF"/>
                  </a:solidFill>
                </a:defRPr>
              </a:lvl6pPr>
              <a:lvl7pPr marL="2743200" algn="l" defTabSz="914400" rtl="0" eaLnBrk="1" latinLnBrk="0" hangingPunct="1">
                <a:defRPr sz="1800" kern="1200">
                  <a:solidFill>
                    <a:srgbClr val="FFFFFF"/>
                  </a:solidFill>
                </a:defRPr>
              </a:lvl7pPr>
              <a:lvl8pPr marL="3200400" algn="l" defTabSz="914400" rtl="0" eaLnBrk="1" latinLnBrk="0" hangingPunct="1">
                <a:defRPr sz="1800" kern="1200">
                  <a:solidFill>
                    <a:srgbClr val="FFFFFF"/>
                  </a:solidFill>
                </a:defRPr>
              </a:lvl8pPr>
              <a:lvl9pPr marL="3657600" algn="l" defTabSz="914400" rtl="0" eaLnBrk="1" latinLnBrk="0" hangingPunct="1">
                <a:defRPr sz="1800" kern="1200">
                  <a:solidFill>
                    <a:srgbClr val="FFFFFF"/>
                  </a:solidFill>
                </a:defRPr>
              </a:lvl9pPr>
            </a:lstStyle>
            <a:p>
              <a:pPr algn="ctr"/>
              <a:endParaRPr lang="en-IN" sz="1800"/>
            </a:p>
          </p:txBody>
        </p:sp>
      </p:grpSp>
      <p:grpSp>
        <p:nvGrpSpPr>
          <p:cNvPr id="20" name="Group 34">
            <a:extLst>
              <a:ext uri="{FF2B5EF4-FFF2-40B4-BE49-F238E27FC236}">
                <a16:creationId xmlns:a16="http://schemas.microsoft.com/office/drawing/2014/main" id="{3CAFB957-806D-2ADB-6AF2-FA4EDE46B792}"/>
              </a:ext>
            </a:extLst>
          </p:cNvPr>
          <p:cNvGrpSpPr/>
          <p:nvPr/>
        </p:nvGrpSpPr>
        <p:grpSpPr>
          <a:xfrm rot="2700000">
            <a:off x="1385299" y="4328554"/>
            <a:ext cx="745496" cy="745494"/>
            <a:chOff x="1120140" y="1554480"/>
            <a:chExt cx="1386840" cy="1386840"/>
          </a:xfrm>
        </p:grpSpPr>
        <p:sp>
          <p:nvSpPr>
            <p:cNvPr id="21" name="Rectangle: Rounded Corners 35">
              <a:extLst>
                <a:ext uri="{FF2B5EF4-FFF2-40B4-BE49-F238E27FC236}">
                  <a16:creationId xmlns:a16="http://schemas.microsoft.com/office/drawing/2014/main" id="{DDE3301C-0ED1-EE96-46A7-CFEA1BBDBB36}"/>
                </a:ext>
              </a:extLst>
            </p:cNvPr>
            <p:cNvSpPr/>
            <p:nvPr/>
          </p:nvSpPr>
          <p:spPr>
            <a:xfrm>
              <a:off x="1120140" y="1554480"/>
              <a:ext cx="1386840" cy="1386840"/>
            </a:xfrm>
            <a:prstGeom prst="roundRect">
              <a:avLst>
                <a:gd name="adj" fmla="val 842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defRPr>
              </a:lvl1pPr>
              <a:lvl2pPr marL="457200" algn="l" defTabSz="914400" rtl="0" eaLnBrk="1" latinLnBrk="0" hangingPunct="1">
                <a:defRPr sz="1800" kern="1200">
                  <a:solidFill>
                    <a:srgbClr val="FFFFFF"/>
                  </a:solidFill>
                </a:defRPr>
              </a:lvl2pPr>
              <a:lvl3pPr marL="914400" algn="l" defTabSz="914400" rtl="0" eaLnBrk="1" latinLnBrk="0" hangingPunct="1">
                <a:defRPr sz="1800" kern="1200">
                  <a:solidFill>
                    <a:srgbClr val="FFFFFF"/>
                  </a:solidFill>
                </a:defRPr>
              </a:lvl3pPr>
              <a:lvl4pPr marL="1371600" algn="l" defTabSz="914400" rtl="0" eaLnBrk="1" latinLnBrk="0" hangingPunct="1">
                <a:defRPr sz="1800" kern="1200">
                  <a:solidFill>
                    <a:srgbClr val="FFFFFF"/>
                  </a:solidFill>
                </a:defRPr>
              </a:lvl4pPr>
              <a:lvl5pPr marL="1828800" algn="l" defTabSz="914400" rtl="0" eaLnBrk="1" latinLnBrk="0" hangingPunct="1">
                <a:defRPr sz="1800" kern="1200">
                  <a:solidFill>
                    <a:srgbClr val="FFFFFF"/>
                  </a:solidFill>
                </a:defRPr>
              </a:lvl5pPr>
              <a:lvl6pPr marL="2286000" algn="l" defTabSz="914400" rtl="0" eaLnBrk="1" latinLnBrk="0" hangingPunct="1">
                <a:defRPr sz="1800" kern="1200">
                  <a:solidFill>
                    <a:srgbClr val="FFFFFF"/>
                  </a:solidFill>
                </a:defRPr>
              </a:lvl6pPr>
              <a:lvl7pPr marL="2743200" algn="l" defTabSz="914400" rtl="0" eaLnBrk="1" latinLnBrk="0" hangingPunct="1">
                <a:defRPr sz="1800" kern="1200">
                  <a:solidFill>
                    <a:srgbClr val="FFFFFF"/>
                  </a:solidFill>
                </a:defRPr>
              </a:lvl7pPr>
              <a:lvl8pPr marL="3200400" algn="l" defTabSz="914400" rtl="0" eaLnBrk="1" latinLnBrk="0" hangingPunct="1">
                <a:defRPr sz="1800" kern="1200">
                  <a:solidFill>
                    <a:srgbClr val="FFFFFF"/>
                  </a:solidFill>
                </a:defRPr>
              </a:lvl8pPr>
              <a:lvl9pPr marL="3657600" algn="l" defTabSz="914400" rtl="0" eaLnBrk="1" latinLnBrk="0" hangingPunct="1">
                <a:defRPr sz="1800" kern="1200">
                  <a:solidFill>
                    <a:srgbClr val="FFFFFF"/>
                  </a:solidFill>
                </a:defRPr>
              </a:lvl9pPr>
            </a:lstStyle>
            <a:p>
              <a:pPr algn="ctr"/>
              <a:endParaRPr lang="en-IN" sz="1800"/>
            </a:p>
          </p:txBody>
        </p:sp>
        <p:sp>
          <p:nvSpPr>
            <p:cNvPr id="22" name="Rectangle: Rounded Corners 36">
              <a:extLst>
                <a:ext uri="{FF2B5EF4-FFF2-40B4-BE49-F238E27FC236}">
                  <a16:creationId xmlns:a16="http://schemas.microsoft.com/office/drawing/2014/main" id="{5B37042C-09EA-B10F-48EE-59A68A039483}"/>
                </a:ext>
              </a:extLst>
            </p:cNvPr>
            <p:cNvSpPr/>
            <p:nvPr/>
          </p:nvSpPr>
          <p:spPr>
            <a:xfrm>
              <a:off x="1219200" y="1653540"/>
              <a:ext cx="1188720" cy="1188720"/>
            </a:xfrm>
            <a:prstGeom prst="roundRect">
              <a:avLst>
                <a:gd name="adj" fmla="val 7452"/>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defRPr>
              </a:lvl1pPr>
              <a:lvl2pPr marL="457200" algn="l" defTabSz="914400" rtl="0" eaLnBrk="1" latinLnBrk="0" hangingPunct="1">
                <a:defRPr sz="1800" kern="1200">
                  <a:solidFill>
                    <a:srgbClr val="FFFFFF"/>
                  </a:solidFill>
                </a:defRPr>
              </a:lvl2pPr>
              <a:lvl3pPr marL="914400" algn="l" defTabSz="914400" rtl="0" eaLnBrk="1" latinLnBrk="0" hangingPunct="1">
                <a:defRPr sz="1800" kern="1200">
                  <a:solidFill>
                    <a:srgbClr val="FFFFFF"/>
                  </a:solidFill>
                </a:defRPr>
              </a:lvl3pPr>
              <a:lvl4pPr marL="1371600" algn="l" defTabSz="914400" rtl="0" eaLnBrk="1" latinLnBrk="0" hangingPunct="1">
                <a:defRPr sz="1800" kern="1200">
                  <a:solidFill>
                    <a:srgbClr val="FFFFFF"/>
                  </a:solidFill>
                </a:defRPr>
              </a:lvl4pPr>
              <a:lvl5pPr marL="1828800" algn="l" defTabSz="914400" rtl="0" eaLnBrk="1" latinLnBrk="0" hangingPunct="1">
                <a:defRPr sz="1800" kern="1200">
                  <a:solidFill>
                    <a:srgbClr val="FFFFFF"/>
                  </a:solidFill>
                </a:defRPr>
              </a:lvl5pPr>
              <a:lvl6pPr marL="2286000" algn="l" defTabSz="914400" rtl="0" eaLnBrk="1" latinLnBrk="0" hangingPunct="1">
                <a:defRPr sz="1800" kern="1200">
                  <a:solidFill>
                    <a:srgbClr val="FFFFFF"/>
                  </a:solidFill>
                </a:defRPr>
              </a:lvl6pPr>
              <a:lvl7pPr marL="2743200" algn="l" defTabSz="914400" rtl="0" eaLnBrk="1" latinLnBrk="0" hangingPunct="1">
                <a:defRPr sz="1800" kern="1200">
                  <a:solidFill>
                    <a:srgbClr val="FFFFFF"/>
                  </a:solidFill>
                </a:defRPr>
              </a:lvl7pPr>
              <a:lvl8pPr marL="3200400" algn="l" defTabSz="914400" rtl="0" eaLnBrk="1" latinLnBrk="0" hangingPunct="1">
                <a:defRPr sz="1800" kern="1200">
                  <a:solidFill>
                    <a:srgbClr val="FFFFFF"/>
                  </a:solidFill>
                </a:defRPr>
              </a:lvl8pPr>
              <a:lvl9pPr marL="3657600" algn="l" defTabSz="914400" rtl="0" eaLnBrk="1" latinLnBrk="0" hangingPunct="1">
                <a:defRPr sz="1800" kern="1200">
                  <a:solidFill>
                    <a:srgbClr val="FFFFFF"/>
                  </a:solidFill>
                </a:defRPr>
              </a:lvl9pPr>
            </a:lstStyle>
            <a:p>
              <a:pPr algn="ctr"/>
              <a:endParaRPr lang="en-IN" sz="1800"/>
            </a:p>
          </p:txBody>
        </p:sp>
      </p:grpSp>
      <p:grpSp>
        <p:nvGrpSpPr>
          <p:cNvPr id="23" name="Group 37">
            <a:extLst>
              <a:ext uri="{FF2B5EF4-FFF2-40B4-BE49-F238E27FC236}">
                <a16:creationId xmlns:a16="http://schemas.microsoft.com/office/drawing/2014/main" id="{E94CF325-EF0C-5B5D-9D72-D13FA5D398DF}"/>
              </a:ext>
            </a:extLst>
          </p:cNvPr>
          <p:cNvGrpSpPr/>
          <p:nvPr/>
        </p:nvGrpSpPr>
        <p:grpSpPr>
          <a:xfrm rot="2700000">
            <a:off x="1386945" y="5676590"/>
            <a:ext cx="745496" cy="745494"/>
            <a:chOff x="1120140" y="1554480"/>
            <a:chExt cx="1386840" cy="1386840"/>
          </a:xfrm>
        </p:grpSpPr>
        <p:sp>
          <p:nvSpPr>
            <p:cNvPr id="24" name="Rectangle: Rounded Corners 38">
              <a:extLst>
                <a:ext uri="{FF2B5EF4-FFF2-40B4-BE49-F238E27FC236}">
                  <a16:creationId xmlns:a16="http://schemas.microsoft.com/office/drawing/2014/main" id="{83AE2332-60E2-CC4B-B5D9-753B486132EF}"/>
                </a:ext>
              </a:extLst>
            </p:cNvPr>
            <p:cNvSpPr/>
            <p:nvPr/>
          </p:nvSpPr>
          <p:spPr>
            <a:xfrm>
              <a:off x="1120140" y="1554480"/>
              <a:ext cx="1386840" cy="1386840"/>
            </a:xfrm>
            <a:prstGeom prst="roundRect">
              <a:avLst>
                <a:gd name="adj" fmla="val 842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defRPr>
              </a:lvl1pPr>
              <a:lvl2pPr marL="457200" algn="l" defTabSz="914400" rtl="0" eaLnBrk="1" latinLnBrk="0" hangingPunct="1">
                <a:defRPr sz="1800" kern="1200">
                  <a:solidFill>
                    <a:srgbClr val="FFFFFF"/>
                  </a:solidFill>
                </a:defRPr>
              </a:lvl2pPr>
              <a:lvl3pPr marL="914400" algn="l" defTabSz="914400" rtl="0" eaLnBrk="1" latinLnBrk="0" hangingPunct="1">
                <a:defRPr sz="1800" kern="1200">
                  <a:solidFill>
                    <a:srgbClr val="FFFFFF"/>
                  </a:solidFill>
                </a:defRPr>
              </a:lvl3pPr>
              <a:lvl4pPr marL="1371600" algn="l" defTabSz="914400" rtl="0" eaLnBrk="1" latinLnBrk="0" hangingPunct="1">
                <a:defRPr sz="1800" kern="1200">
                  <a:solidFill>
                    <a:srgbClr val="FFFFFF"/>
                  </a:solidFill>
                </a:defRPr>
              </a:lvl4pPr>
              <a:lvl5pPr marL="1828800" algn="l" defTabSz="914400" rtl="0" eaLnBrk="1" latinLnBrk="0" hangingPunct="1">
                <a:defRPr sz="1800" kern="1200">
                  <a:solidFill>
                    <a:srgbClr val="FFFFFF"/>
                  </a:solidFill>
                </a:defRPr>
              </a:lvl5pPr>
              <a:lvl6pPr marL="2286000" algn="l" defTabSz="914400" rtl="0" eaLnBrk="1" latinLnBrk="0" hangingPunct="1">
                <a:defRPr sz="1800" kern="1200">
                  <a:solidFill>
                    <a:srgbClr val="FFFFFF"/>
                  </a:solidFill>
                </a:defRPr>
              </a:lvl6pPr>
              <a:lvl7pPr marL="2743200" algn="l" defTabSz="914400" rtl="0" eaLnBrk="1" latinLnBrk="0" hangingPunct="1">
                <a:defRPr sz="1800" kern="1200">
                  <a:solidFill>
                    <a:srgbClr val="FFFFFF"/>
                  </a:solidFill>
                </a:defRPr>
              </a:lvl7pPr>
              <a:lvl8pPr marL="3200400" algn="l" defTabSz="914400" rtl="0" eaLnBrk="1" latinLnBrk="0" hangingPunct="1">
                <a:defRPr sz="1800" kern="1200">
                  <a:solidFill>
                    <a:srgbClr val="FFFFFF"/>
                  </a:solidFill>
                </a:defRPr>
              </a:lvl8pPr>
              <a:lvl9pPr marL="3657600" algn="l" defTabSz="914400" rtl="0" eaLnBrk="1" latinLnBrk="0" hangingPunct="1">
                <a:defRPr sz="1800" kern="1200">
                  <a:solidFill>
                    <a:srgbClr val="FFFFFF"/>
                  </a:solidFill>
                </a:defRPr>
              </a:lvl9pPr>
            </a:lstStyle>
            <a:p>
              <a:pPr algn="ctr"/>
              <a:endParaRPr lang="en-IN" sz="1800"/>
            </a:p>
          </p:txBody>
        </p:sp>
        <p:sp>
          <p:nvSpPr>
            <p:cNvPr id="25" name="Rectangle: Rounded Corners 39">
              <a:extLst>
                <a:ext uri="{FF2B5EF4-FFF2-40B4-BE49-F238E27FC236}">
                  <a16:creationId xmlns:a16="http://schemas.microsoft.com/office/drawing/2014/main" id="{553F0A65-0B01-AE22-4C67-99D2FE552CE5}"/>
                </a:ext>
              </a:extLst>
            </p:cNvPr>
            <p:cNvSpPr/>
            <p:nvPr/>
          </p:nvSpPr>
          <p:spPr>
            <a:xfrm>
              <a:off x="1219200" y="1653540"/>
              <a:ext cx="1188720" cy="1188720"/>
            </a:xfrm>
            <a:prstGeom prst="roundRect">
              <a:avLst>
                <a:gd name="adj" fmla="val 7452"/>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defRPr>
              </a:lvl1pPr>
              <a:lvl2pPr marL="457200" algn="l" defTabSz="914400" rtl="0" eaLnBrk="1" latinLnBrk="0" hangingPunct="1">
                <a:defRPr sz="1800" kern="1200">
                  <a:solidFill>
                    <a:srgbClr val="FFFFFF"/>
                  </a:solidFill>
                </a:defRPr>
              </a:lvl2pPr>
              <a:lvl3pPr marL="914400" algn="l" defTabSz="914400" rtl="0" eaLnBrk="1" latinLnBrk="0" hangingPunct="1">
                <a:defRPr sz="1800" kern="1200">
                  <a:solidFill>
                    <a:srgbClr val="FFFFFF"/>
                  </a:solidFill>
                </a:defRPr>
              </a:lvl3pPr>
              <a:lvl4pPr marL="1371600" algn="l" defTabSz="914400" rtl="0" eaLnBrk="1" latinLnBrk="0" hangingPunct="1">
                <a:defRPr sz="1800" kern="1200">
                  <a:solidFill>
                    <a:srgbClr val="FFFFFF"/>
                  </a:solidFill>
                </a:defRPr>
              </a:lvl4pPr>
              <a:lvl5pPr marL="1828800" algn="l" defTabSz="914400" rtl="0" eaLnBrk="1" latinLnBrk="0" hangingPunct="1">
                <a:defRPr sz="1800" kern="1200">
                  <a:solidFill>
                    <a:srgbClr val="FFFFFF"/>
                  </a:solidFill>
                </a:defRPr>
              </a:lvl5pPr>
              <a:lvl6pPr marL="2286000" algn="l" defTabSz="914400" rtl="0" eaLnBrk="1" latinLnBrk="0" hangingPunct="1">
                <a:defRPr sz="1800" kern="1200">
                  <a:solidFill>
                    <a:srgbClr val="FFFFFF"/>
                  </a:solidFill>
                </a:defRPr>
              </a:lvl6pPr>
              <a:lvl7pPr marL="2743200" algn="l" defTabSz="914400" rtl="0" eaLnBrk="1" latinLnBrk="0" hangingPunct="1">
                <a:defRPr sz="1800" kern="1200">
                  <a:solidFill>
                    <a:srgbClr val="FFFFFF"/>
                  </a:solidFill>
                </a:defRPr>
              </a:lvl7pPr>
              <a:lvl8pPr marL="3200400" algn="l" defTabSz="914400" rtl="0" eaLnBrk="1" latinLnBrk="0" hangingPunct="1">
                <a:defRPr sz="1800" kern="1200">
                  <a:solidFill>
                    <a:srgbClr val="FFFFFF"/>
                  </a:solidFill>
                </a:defRPr>
              </a:lvl8pPr>
              <a:lvl9pPr marL="3657600" algn="l" defTabSz="914400" rtl="0" eaLnBrk="1" latinLnBrk="0" hangingPunct="1">
                <a:defRPr sz="1800" kern="1200">
                  <a:solidFill>
                    <a:srgbClr val="FFFFFF"/>
                  </a:solidFill>
                </a:defRPr>
              </a:lvl9pPr>
            </a:lstStyle>
            <a:p>
              <a:pPr algn="ctr"/>
              <a:endParaRPr lang="en-IN" sz="1800"/>
            </a:p>
          </p:txBody>
        </p:sp>
      </p:grpSp>
      <p:grpSp>
        <p:nvGrpSpPr>
          <p:cNvPr id="26" name="Group 41">
            <a:extLst>
              <a:ext uri="{FF2B5EF4-FFF2-40B4-BE49-F238E27FC236}">
                <a16:creationId xmlns:a16="http://schemas.microsoft.com/office/drawing/2014/main" id="{A516299D-394B-F6BC-2AF9-0B75F698BB82}"/>
              </a:ext>
            </a:extLst>
          </p:cNvPr>
          <p:cNvGrpSpPr/>
          <p:nvPr/>
        </p:nvGrpSpPr>
        <p:grpSpPr>
          <a:xfrm rot="2700000">
            <a:off x="2093864" y="3623739"/>
            <a:ext cx="745496" cy="745494"/>
            <a:chOff x="1120140" y="1554480"/>
            <a:chExt cx="1386840" cy="1386840"/>
          </a:xfrm>
        </p:grpSpPr>
        <p:sp>
          <p:nvSpPr>
            <p:cNvPr id="27" name="Rectangle: Rounded Corners 48">
              <a:extLst>
                <a:ext uri="{FF2B5EF4-FFF2-40B4-BE49-F238E27FC236}">
                  <a16:creationId xmlns:a16="http://schemas.microsoft.com/office/drawing/2014/main" id="{E0102D3C-524D-9956-EB3D-08C179630E5D}"/>
                </a:ext>
              </a:extLst>
            </p:cNvPr>
            <p:cNvSpPr/>
            <p:nvPr/>
          </p:nvSpPr>
          <p:spPr>
            <a:xfrm>
              <a:off x="1120140" y="1554480"/>
              <a:ext cx="1386840" cy="1386840"/>
            </a:xfrm>
            <a:prstGeom prst="roundRect">
              <a:avLst>
                <a:gd name="adj" fmla="val 8425"/>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defRPr>
              </a:lvl1pPr>
              <a:lvl2pPr marL="457200" algn="l" defTabSz="914400" rtl="0" eaLnBrk="1" latinLnBrk="0" hangingPunct="1">
                <a:defRPr sz="1800" kern="1200">
                  <a:solidFill>
                    <a:srgbClr val="FFFFFF"/>
                  </a:solidFill>
                </a:defRPr>
              </a:lvl2pPr>
              <a:lvl3pPr marL="914400" algn="l" defTabSz="914400" rtl="0" eaLnBrk="1" latinLnBrk="0" hangingPunct="1">
                <a:defRPr sz="1800" kern="1200">
                  <a:solidFill>
                    <a:srgbClr val="FFFFFF"/>
                  </a:solidFill>
                </a:defRPr>
              </a:lvl3pPr>
              <a:lvl4pPr marL="1371600" algn="l" defTabSz="914400" rtl="0" eaLnBrk="1" latinLnBrk="0" hangingPunct="1">
                <a:defRPr sz="1800" kern="1200">
                  <a:solidFill>
                    <a:srgbClr val="FFFFFF"/>
                  </a:solidFill>
                </a:defRPr>
              </a:lvl4pPr>
              <a:lvl5pPr marL="1828800" algn="l" defTabSz="914400" rtl="0" eaLnBrk="1" latinLnBrk="0" hangingPunct="1">
                <a:defRPr sz="1800" kern="1200">
                  <a:solidFill>
                    <a:srgbClr val="FFFFFF"/>
                  </a:solidFill>
                </a:defRPr>
              </a:lvl5pPr>
              <a:lvl6pPr marL="2286000" algn="l" defTabSz="914400" rtl="0" eaLnBrk="1" latinLnBrk="0" hangingPunct="1">
                <a:defRPr sz="1800" kern="1200">
                  <a:solidFill>
                    <a:srgbClr val="FFFFFF"/>
                  </a:solidFill>
                </a:defRPr>
              </a:lvl6pPr>
              <a:lvl7pPr marL="2743200" algn="l" defTabSz="914400" rtl="0" eaLnBrk="1" latinLnBrk="0" hangingPunct="1">
                <a:defRPr sz="1800" kern="1200">
                  <a:solidFill>
                    <a:srgbClr val="FFFFFF"/>
                  </a:solidFill>
                </a:defRPr>
              </a:lvl7pPr>
              <a:lvl8pPr marL="3200400" algn="l" defTabSz="914400" rtl="0" eaLnBrk="1" latinLnBrk="0" hangingPunct="1">
                <a:defRPr sz="1800" kern="1200">
                  <a:solidFill>
                    <a:srgbClr val="FFFFFF"/>
                  </a:solidFill>
                </a:defRPr>
              </a:lvl8pPr>
              <a:lvl9pPr marL="3657600" algn="l" defTabSz="914400" rtl="0" eaLnBrk="1" latinLnBrk="0" hangingPunct="1">
                <a:defRPr sz="1800" kern="1200">
                  <a:solidFill>
                    <a:srgbClr val="FFFFFF"/>
                  </a:solidFill>
                </a:defRPr>
              </a:lvl9pPr>
            </a:lstStyle>
            <a:p>
              <a:pPr algn="ctr"/>
              <a:endParaRPr lang="en-IN" sz="1800"/>
            </a:p>
          </p:txBody>
        </p:sp>
        <p:sp>
          <p:nvSpPr>
            <p:cNvPr id="28" name="Rectangle: Rounded Corners 49">
              <a:extLst>
                <a:ext uri="{FF2B5EF4-FFF2-40B4-BE49-F238E27FC236}">
                  <a16:creationId xmlns:a16="http://schemas.microsoft.com/office/drawing/2014/main" id="{5E2FC68E-1973-C415-41E7-4C87CC8853F8}"/>
                </a:ext>
              </a:extLst>
            </p:cNvPr>
            <p:cNvSpPr/>
            <p:nvPr/>
          </p:nvSpPr>
          <p:spPr>
            <a:xfrm>
              <a:off x="1219200" y="1653540"/>
              <a:ext cx="1188720" cy="1188720"/>
            </a:xfrm>
            <a:prstGeom prst="roundRect">
              <a:avLst>
                <a:gd name="adj" fmla="val 7452"/>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defRPr>
              </a:lvl1pPr>
              <a:lvl2pPr marL="457200" algn="l" defTabSz="914400" rtl="0" eaLnBrk="1" latinLnBrk="0" hangingPunct="1">
                <a:defRPr sz="1800" kern="1200">
                  <a:solidFill>
                    <a:srgbClr val="FFFFFF"/>
                  </a:solidFill>
                </a:defRPr>
              </a:lvl2pPr>
              <a:lvl3pPr marL="914400" algn="l" defTabSz="914400" rtl="0" eaLnBrk="1" latinLnBrk="0" hangingPunct="1">
                <a:defRPr sz="1800" kern="1200">
                  <a:solidFill>
                    <a:srgbClr val="FFFFFF"/>
                  </a:solidFill>
                </a:defRPr>
              </a:lvl3pPr>
              <a:lvl4pPr marL="1371600" algn="l" defTabSz="914400" rtl="0" eaLnBrk="1" latinLnBrk="0" hangingPunct="1">
                <a:defRPr sz="1800" kern="1200">
                  <a:solidFill>
                    <a:srgbClr val="FFFFFF"/>
                  </a:solidFill>
                </a:defRPr>
              </a:lvl4pPr>
              <a:lvl5pPr marL="1828800" algn="l" defTabSz="914400" rtl="0" eaLnBrk="1" latinLnBrk="0" hangingPunct="1">
                <a:defRPr sz="1800" kern="1200">
                  <a:solidFill>
                    <a:srgbClr val="FFFFFF"/>
                  </a:solidFill>
                </a:defRPr>
              </a:lvl5pPr>
              <a:lvl6pPr marL="2286000" algn="l" defTabSz="914400" rtl="0" eaLnBrk="1" latinLnBrk="0" hangingPunct="1">
                <a:defRPr sz="1800" kern="1200">
                  <a:solidFill>
                    <a:srgbClr val="FFFFFF"/>
                  </a:solidFill>
                </a:defRPr>
              </a:lvl6pPr>
              <a:lvl7pPr marL="2743200" algn="l" defTabSz="914400" rtl="0" eaLnBrk="1" latinLnBrk="0" hangingPunct="1">
                <a:defRPr sz="1800" kern="1200">
                  <a:solidFill>
                    <a:srgbClr val="FFFFFF"/>
                  </a:solidFill>
                </a:defRPr>
              </a:lvl7pPr>
              <a:lvl8pPr marL="3200400" algn="l" defTabSz="914400" rtl="0" eaLnBrk="1" latinLnBrk="0" hangingPunct="1">
                <a:defRPr sz="1800" kern="1200">
                  <a:solidFill>
                    <a:srgbClr val="FFFFFF"/>
                  </a:solidFill>
                </a:defRPr>
              </a:lvl8pPr>
              <a:lvl9pPr marL="3657600" algn="l" defTabSz="914400" rtl="0" eaLnBrk="1" latinLnBrk="0" hangingPunct="1">
                <a:defRPr sz="1800" kern="1200">
                  <a:solidFill>
                    <a:srgbClr val="FFFFFF"/>
                  </a:solidFill>
                </a:defRPr>
              </a:lvl9pPr>
            </a:lstStyle>
            <a:p>
              <a:pPr algn="ctr"/>
              <a:endParaRPr lang="en-IN" sz="1800"/>
            </a:p>
          </p:txBody>
        </p:sp>
      </p:grpSp>
      <p:grpSp>
        <p:nvGrpSpPr>
          <p:cNvPr id="29" name="Group 42">
            <a:extLst>
              <a:ext uri="{FF2B5EF4-FFF2-40B4-BE49-F238E27FC236}">
                <a16:creationId xmlns:a16="http://schemas.microsoft.com/office/drawing/2014/main" id="{DA24077F-13A0-BF6B-DB31-766E8B0D08AC}"/>
              </a:ext>
            </a:extLst>
          </p:cNvPr>
          <p:cNvGrpSpPr/>
          <p:nvPr/>
        </p:nvGrpSpPr>
        <p:grpSpPr>
          <a:xfrm rot="2700000">
            <a:off x="2094032" y="4990146"/>
            <a:ext cx="745496" cy="745494"/>
            <a:chOff x="1120140" y="1554480"/>
            <a:chExt cx="1386840" cy="1386840"/>
          </a:xfrm>
        </p:grpSpPr>
        <p:sp>
          <p:nvSpPr>
            <p:cNvPr id="30" name="Rectangle: Rounded Corners 46">
              <a:extLst>
                <a:ext uri="{FF2B5EF4-FFF2-40B4-BE49-F238E27FC236}">
                  <a16:creationId xmlns:a16="http://schemas.microsoft.com/office/drawing/2014/main" id="{66BD4492-D035-9DA8-CA13-A6BEB39D970C}"/>
                </a:ext>
              </a:extLst>
            </p:cNvPr>
            <p:cNvSpPr/>
            <p:nvPr/>
          </p:nvSpPr>
          <p:spPr>
            <a:xfrm>
              <a:off x="1120140" y="1554480"/>
              <a:ext cx="1386840" cy="1386840"/>
            </a:xfrm>
            <a:prstGeom prst="roundRect">
              <a:avLst>
                <a:gd name="adj" fmla="val 8425"/>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defRPr>
              </a:lvl1pPr>
              <a:lvl2pPr marL="457200" algn="l" defTabSz="914400" rtl="0" eaLnBrk="1" latinLnBrk="0" hangingPunct="1">
                <a:defRPr sz="1800" kern="1200">
                  <a:solidFill>
                    <a:srgbClr val="FFFFFF"/>
                  </a:solidFill>
                </a:defRPr>
              </a:lvl2pPr>
              <a:lvl3pPr marL="914400" algn="l" defTabSz="914400" rtl="0" eaLnBrk="1" latinLnBrk="0" hangingPunct="1">
                <a:defRPr sz="1800" kern="1200">
                  <a:solidFill>
                    <a:srgbClr val="FFFFFF"/>
                  </a:solidFill>
                </a:defRPr>
              </a:lvl3pPr>
              <a:lvl4pPr marL="1371600" algn="l" defTabSz="914400" rtl="0" eaLnBrk="1" latinLnBrk="0" hangingPunct="1">
                <a:defRPr sz="1800" kern="1200">
                  <a:solidFill>
                    <a:srgbClr val="FFFFFF"/>
                  </a:solidFill>
                </a:defRPr>
              </a:lvl4pPr>
              <a:lvl5pPr marL="1828800" algn="l" defTabSz="914400" rtl="0" eaLnBrk="1" latinLnBrk="0" hangingPunct="1">
                <a:defRPr sz="1800" kern="1200">
                  <a:solidFill>
                    <a:srgbClr val="FFFFFF"/>
                  </a:solidFill>
                </a:defRPr>
              </a:lvl5pPr>
              <a:lvl6pPr marL="2286000" algn="l" defTabSz="914400" rtl="0" eaLnBrk="1" latinLnBrk="0" hangingPunct="1">
                <a:defRPr sz="1800" kern="1200">
                  <a:solidFill>
                    <a:srgbClr val="FFFFFF"/>
                  </a:solidFill>
                </a:defRPr>
              </a:lvl6pPr>
              <a:lvl7pPr marL="2743200" algn="l" defTabSz="914400" rtl="0" eaLnBrk="1" latinLnBrk="0" hangingPunct="1">
                <a:defRPr sz="1800" kern="1200">
                  <a:solidFill>
                    <a:srgbClr val="FFFFFF"/>
                  </a:solidFill>
                </a:defRPr>
              </a:lvl7pPr>
              <a:lvl8pPr marL="3200400" algn="l" defTabSz="914400" rtl="0" eaLnBrk="1" latinLnBrk="0" hangingPunct="1">
                <a:defRPr sz="1800" kern="1200">
                  <a:solidFill>
                    <a:srgbClr val="FFFFFF"/>
                  </a:solidFill>
                </a:defRPr>
              </a:lvl8pPr>
              <a:lvl9pPr marL="3657600" algn="l" defTabSz="914400" rtl="0" eaLnBrk="1" latinLnBrk="0" hangingPunct="1">
                <a:defRPr sz="1800" kern="1200">
                  <a:solidFill>
                    <a:srgbClr val="FFFFFF"/>
                  </a:solidFill>
                </a:defRPr>
              </a:lvl9pPr>
            </a:lstStyle>
            <a:p>
              <a:pPr algn="ctr"/>
              <a:endParaRPr lang="en-IN" sz="1800"/>
            </a:p>
          </p:txBody>
        </p:sp>
        <p:sp>
          <p:nvSpPr>
            <p:cNvPr id="31" name="Rectangle: Rounded Corners 47">
              <a:extLst>
                <a:ext uri="{FF2B5EF4-FFF2-40B4-BE49-F238E27FC236}">
                  <a16:creationId xmlns:a16="http://schemas.microsoft.com/office/drawing/2014/main" id="{E41B4E1D-9EFA-75C1-EA19-96B7302D55C5}"/>
                </a:ext>
              </a:extLst>
            </p:cNvPr>
            <p:cNvSpPr/>
            <p:nvPr/>
          </p:nvSpPr>
          <p:spPr>
            <a:xfrm>
              <a:off x="1219200" y="1653540"/>
              <a:ext cx="1188720" cy="1188720"/>
            </a:xfrm>
            <a:prstGeom prst="roundRect">
              <a:avLst>
                <a:gd name="adj" fmla="val 7452"/>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defRPr>
              </a:lvl1pPr>
              <a:lvl2pPr marL="457200" algn="l" defTabSz="914400" rtl="0" eaLnBrk="1" latinLnBrk="0" hangingPunct="1">
                <a:defRPr sz="1800" kern="1200">
                  <a:solidFill>
                    <a:srgbClr val="FFFFFF"/>
                  </a:solidFill>
                </a:defRPr>
              </a:lvl2pPr>
              <a:lvl3pPr marL="914400" algn="l" defTabSz="914400" rtl="0" eaLnBrk="1" latinLnBrk="0" hangingPunct="1">
                <a:defRPr sz="1800" kern="1200">
                  <a:solidFill>
                    <a:srgbClr val="FFFFFF"/>
                  </a:solidFill>
                </a:defRPr>
              </a:lvl3pPr>
              <a:lvl4pPr marL="1371600" algn="l" defTabSz="914400" rtl="0" eaLnBrk="1" latinLnBrk="0" hangingPunct="1">
                <a:defRPr sz="1800" kern="1200">
                  <a:solidFill>
                    <a:srgbClr val="FFFFFF"/>
                  </a:solidFill>
                </a:defRPr>
              </a:lvl4pPr>
              <a:lvl5pPr marL="1828800" algn="l" defTabSz="914400" rtl="0" eaLnBrk="1" latinLnBrk="0" hangingPunct="1">
                <a:defRPr sz="1800" kern="1200">
                  <a:solidFill>
                    <a:srgbClr val="FFFFFF"/>
                  </a:solidFill>
                </a:defRPr>
              </a:lvl5pPr>
              <a:lvl6pPr marL="2286000" algn="l" defTabSz="914400" rtl="0" eaLnBrk="1" latinLnBrk="0" hangingPunct="1">
                <a:defRPr sz="1800" kern="1200">
                  <a:solidFill>
                    <a:srgbClr val="FFFFFF"/>
                  </a:solidFill>
                </a:defRPr>
              </a:lvl6pPr>
              <a:lvl7pPr marL="2743200" algn="l" defTabSz="914400" rtl="0" eaLnBrk="1" latinLnBrk="0" hangingPunct="1">
                <a:defRPr sz="1800" kern="1200">
                  <a:solidFill>
                    <a:srgbClr val="FFFFFF"/>
                  </a:solidFill>
                </a:defRPr>
              </a:lvl7pPr>
              <a:lvl8pPr marL="3200400" algn="l" defTabSz="914400" rtl="0" eaLnBrk="1" latinLnBrk="0" hangingPunct="1">
                <a:defRPr sz="1800" kern="1200">
                  <a:solidFill>
                    <a:srgbClr val="FFFFFF"/>
                  </a:solidFill>
                </a:defRPr>
              </a:lvl8pPr>
              <a:lvl9pPr marL="3657600" algn="l" defTabSz="914400" rtl="0" eaLnBrk="1" latinLnBrk="0" hangingPunct="1">
                <a:defRPr sz="1800" kern="1200">
                  <a:solidFill>
                    <a:srgbClr val="FFFFFF"/>
                  </a:solidFill>
                </a:defRPr>
              </a:lvl9pPr>
            </a:lstStyle>
            <a:p>
              <a:pPr algn="ctr"/>
              <a:endParaRPr lang="en-IN" sz="1800"/>
            </a:p>
          </p:txBody>
        </p:sp>
      </p:grpSp>
      <p:sp>
        <p:nvSpPr>
          <p:cNvPr id="32" name="TextBox 6">
            <a:extLst>
              <a:ext uri="{FF2B5EF4-FFF2-40B4-BE49-F238E27FC236}">
                <a16:creationId xmlns:a16="http://schemas.microsoft.com/office/drawing/2014/main" id="{37C95AB3-A3FD-4038-6778-406503D16F7E}"/>
              </a:ext>
            </a:extLst>
          </p:cNvPr>
          <p:cNvSpPr txBox="1"/>
          <p:nvPr/>
        </p:nvSpPr>
        <p:spPr>
          <a:xfrm>
            <a:off x="1644032" y="3033376"/>
            <a:ext cx="274064" cy="430887"/>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sz="2800" b="1">
                <a:solidFill>
                  <a:schemeClr val="bg1"/>
                </a:solidFill>
              </a:rPr>
              <a:t>1</a:t>
            </a:r>
            <a:endParaRPr lang="en-IN" sz="2800" b="1">
              <a:solidFill>
                <a:schemeClr val="bg1"/>
              </a:solidFill>
            </a:endParaRPr>
          </a:p>
        </p:txBody>
      </p:sp>
      <p:sp>
        <p:nvSpPr>
          <p:cNvPr id="33" name="TextBox 50">
            <a:extLst>
              <a:ext uri="{FF2B5EF4-FFF2-40B4-BE49-F238E27FC236}">
                <a16:creationId xmlns:a16="http://schemas.microsoft.com/office/drawing/2014/main" id="{1CBAAD70-70CC-3F20-31F0-68EA13953FA6}"/>
              </a:ext>
            </a:extLst>
          </p:cNvPr>
          <p:cNvSpPr txBox="1"/>
          <p:nvPr/>
        </p:nvSpPr>
        <p:spPr>
          <a:xfrm>
            <a:off x="2345052" y="3748168"/>
            <a:ext cx="274064" cy="430887"/>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sz="2800" b="1">
                <a:solidFill>
                  <a:schemeClr val="bg1"/>
                </a:solidFill>
              </a:rPr>
              <a:t>2</a:t>
            </a:r>
            <a:endParaRPr lang="en-IN" sz="2800" b="1">
              <a:solidFill>
                <a:schemeClr val="bg1"/>
              </a:solidFill>
            </a:endParaRPr>
          </a:p>
        </p:txBody>
      </p:sp>
      <p:sp>
        <p:nvSpPr>
          <p:cNvPr id="34" name="TextBox 51">
            <a:extLst>
              <a:ext uri="{FF2B5EF4-FFF2-40B4-BE49-F238E27FC236}">
                <a16:creationId xmlns:a16="http://schemas.microsoft.com/office/drawing/2014/main" id="{7154C412-FCD8-6EC1-8896-804DB59B2F7E}"/>
              </a:ext>
            </a:extLst>
          </p:cNvPr>
          <p:cNvSpPr txBox="1"/>
          <p:nvPr/>
        </p:nvSpPr>
        <p:spPr>
          <a:xfrm>
            <a:off x="1622661" y="4446176"/>
            <a:ext cx="274064" cy="430887"/>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sz="2800" b="1">
                <a:solidFill>
                  <a:schemeClr val="bg1"/>
                </a:solidFill>
              </a:rPr>
              <a:t>3</a:t>
            </a:r>
            <a:endParaRPr lang="en-IN" sz="2800" b="1">
              <a:solidFill>
                <a:schemeClr val="bg1"/>
              </a:solidFill>
            </a:endParaRPr>
          </a:p>
        </p:txBody>
      </p:sp>
      <p:sp>
        <p:nvSpPr>
          <p:cNvPr id="35" name="TextBox 52">
            <a:extLst>
              <a:ext uri="{FF2B5EF4-FFF2-40B4-BE49-F238E27FC236}">
                <a16:creationId xmlns:a16="http://schemas.microsoft.com/office/drawing/2014/main" id="{00A66024-B129-4059-2D18-F9364B749E04}"/>
              </a:ext>
            </a:extLst>
          </p:cNvPr>
          <p:cNvSpPr txBox="1"/>
          <p:nvPr/>
        </p:nvSpPr>
        <p:spPr>
          <a:xfrm>
            <a:off x="2329748" y="5110208"/>
            <a:ext cx="274064" cy="430887"/>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sz="2800" b="1">
                <a:solidFill>
                  <a:schemeClr val="bg1"/>
                </a:solidFill>
              </a:rPr>
              <a:t>4</a:t>
            </a:r>
            <a:endParaRPr lang="en-IN" sz="2800" b="1">
              <a:solidFill>
                <a:schemeClr val="bg1"/>
              </a:solidFill>
            </a:endParaRPr>
          </a:p>
        </p:txBody>
      </p:sp>
      <p:sp>
        <p:nvSpPr>
          <p:cNvPr id="36" name="TextBox 53">
            <a:extLst>
              <a:ext uri="{FF2B5EF4-FFF2-40B4-BE49-F238E27FC236}">
                <a16:creationId xmlns:a16="http://schemas.microsoft.com/office/drawing/2014/main" id="{43DAC28A-F03A-7F50-4EA0-90A285027787}"/>
              </a:ext>
            </a:extLst>
          </p:cNvPr>
          <p:cNvSpPr txBox="1"/>
          <p:nvPr/>
        </p:nvSpPr>
        <p:spPr>
          <a:xfrm>
            <a:off x="1622661" y="5833896"/>
            <a:ext cx="274064" cy="430887"/>
          </a:xfrm>
          <a:prstGeom prst="rect">
            <a:avLst/>
          </a:prstGeom>
          <a:noFill/>
        </p:spPr>
        <p:txBody>
          <a:bodyPr wrap="square" lIns="0" tIns="0" rIns="0" bIns="0" rtlCol="0" anchor="ctr">
            <a:sp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sz="2800" b="1">
                <a:solidFill>
                  <a:schemeClr val="bg1"/>
                </a:solidFill>
              </a:rPr>
              <a:t>5</a:t>
            </a:r>
            <a:endParaRPr lang="en-IN" sz="2800" b="1">
              <a:solidFill>
                <a:schemeClr val="bg1"/>
              </a:solidFill>
            </a:endParaRPr>
          </a:p>
        </p:txBody>
      </p:sp>
      <p:sp>
        <p:nvSpPr>
          <p:cNvPr id="37" name="TextBox 12">
            <a:extLst>
              <a:ext uri="{FF2B5EF4-FFF2-40B4-BE49-F238E27FC236}">
                <a16:creationId xmlns:a16="http://schemas.microsoft.com/office/drawing/2014/main" id="{CF88E75E-763B-14A9-DA2C-05415A6A578E}"/>
              </a:ext>
            </a:extLst>
          </p:cNvPr>
          <p:cNvSpPr txBox="1"/>
          <p:nvPr/>
        </p:nvSpPr>
        <p:spPr>
          <a:xfrm>
            <a:off x="4019816" y="3067157"/>
            <a:ext cx="7333982" cy="377796"/>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nSpc>
                <a:spcPct val="107000"/>
              </a:lnSpc>
            </a:pPr>
            <a:r>
              <a:rPr lang="da-DK" sz="1200">
                <a:effectLst/>
                <a:latin typeface="Verdana" panose="020B0604030504040204" pitchFamily="34" charset="0"/>
                <a:ea typeface="Calibri" panose="020F0502020204030204" pitchFamily="34" charset="0"/>
                <a:cs typeface="Calibri" panose="020F0502020204030204" pitchFamily="34" charset="0"/>
              </a:rPr>
              <a:t>Dagligt salg bogføres med bruttosalgstal fra </a:t>
            </a:r>
            <a:r>
              <a:rPr lang="da-DK" sz="1200" err="1">
                <a:effectLst/>
                <a:latin typeface="Verdana" panose="020B0604030504040204" pitchFamily="34" charset="0"/>
                <a:ea typeface="Calibri" panose="020F0502020204030204" pitchFamily="34" charset="0"/>
                <a:cs typeface="Calibri" panose="020F0502020204030204" pitchFamily="34" charset="0"/>
              </a:rPr>
              <a:t>FlexPOS</a:t>
            </a:r>
            <a:r>
              <a:rPr lang="da-DK" sz="1200">
                <a:effectLst/>
                <a:latin typeface="Verdana" panose="020B0604030504040204" pitchFamily="34" charset="0"/>
                <a:ea typeface="Calibri" panose="020F0502020204030204" pitchFamily="34" charset="0"/>
                <a:cs typeface="Calibri" panose="020F0502020204030204" pitchFamily="34" charset="0"/>
              </a:rPr>
              <a:t>/kassesystem (modsat nettobeløb indsat i banken)</a:t>
            </a:r>
            <a:endParaRPr lang="da-DK" sz="1200">
              <a:effectLst/>
              <a:latin typeface="Verdana" panose="020B0604030504040204" pitchFamily="34" charset="0"/>
              <a:ea typeface="Calibri" panose="020F0502020204030204" pitchFamily="34" charset="0"/>
              <a:cs typeface="Times New Roman" panose="02020603050405020304" pitchFamily="18" charset="0"/>
            </a:endParaRPr>
          </a:p>
        </p:txBody>
      </p:sp>
      <p:sp>
        <p:nvSpPr>
          <p:cNvPr id="38" name="TextBox 58">
            <a:extLst>
              <a:ext uri="{FF2B5EF4-FFF2-40B4-BE49-F238E27FC236}">
                <a16:creationId xmlns:a16="http://schemas.microsoft.com/office/drawing/2014/main" id="{2BA71CA8-DD97-9010-CE98-4545FD40DB79}"/>
              </a:ext>
            </a:extLst>
          </p:cNvPr>
          <p:cNvSpPr txBox="1"/>
          <p:nvPr/>
        </p:nvSpPr>
        <p:spPr>
          <a:xfrm>
            <a:off x="4019816" y="3902733"/>
            <a:ext cx="7333982" cy="180178"/>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nSpc>
                <a:spcPct val="107000"/>
              </a:lnSpc>
            </a:pPr>
            <a:r>
              <a:rPr lang="da-DK" sz="1200">
                <a:effectLst/>
                <a:latin typeface="Verdana" panose="020B0604030504040204" pitchFamily="34" charset="0"/>
                <a:ea typeface="Calibri" panose="020F0502020204030204" pitchFamily="34" charset="0"/>
                <a:cs typeface="Calibri" panose="020F0502020204030204" pitchFamily="34" charset="0"/>
              </a:rPr>
              <a:t>Der bogføres løbende, som minimum ugentligt/månedligt</a:t>
            </a:r>
            <a:endParaRPr lang="da-DK" sz="1200">
              <a:effectLst/>
              <a:latin typeface="Verdana" panose="020B0604030504040204" pitchFamily="34" charset="0"/>
              <a:ea typeface="Calibri" panose="020F0502020204030204" pitchFamily="34" charset="0"/>
              <a:cs typeface="Times New Roman" panose="02020603050405020304" pitchFamily="18" charset="0"/>
            </a:endParaRPr>
          </a:p>
        </p:txBody>
      </p:sp>
      <p:sp>
        <p:nvSpPr>
          <p:cNvPr id="39" name="TextBox 59">
            <a:extLst>
              <a:ext uri="{FF2B5EF4-FFF2-40B4-BE49-F238E27FC236}">
                <a16:creationId xmlns:a16="http://schemas.microsoft.com/office/drawing/2014/main" id="{B7522009-6A0D-F9F2-4279-2B9E7DE5E024}"/>
              </a:ext>
            </a:extLst>
          </p:cNvPr>
          <p:cNvSpPr txBox="1"/>
          <p:nvPr/>
        </p:nvSpPr>
        <p:spPr>
          <a:xfrm>
            <a:off x="4019816" y="4474368"/>
            <a:ext cx="7333982" cy="377796"/>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nSpc>
                <a:spcPct val="107000"/>
              </a:lnSpc>
            </a:pPr>
            <a:r>
              <a:rPr lang="da-DK" sz="1200">
                <a:effectLst/>
                <a:latin typeface="Verdana" panose="020B0604030504040204" pitchFamily="34" charset="0"/>
                <a:ea typeface="Calibri" panose="020F0502020204030204" pitchFamily="34" charset="0"/>
                <a:cs typeface="Calibri" panose="020F0502020204030204" pitchFamily="34" charset="0"/>
              </a:rPr>
              <a:t>Betalinger, som afregnes samlet for en periode og med fradrag af gebyr (MasterCard, Visa og evt. MobilePay), debiteres på en mellemregningskonto.</a:t>
            </a:r>
            <a:endParaRPr lang="da-DK" sz="1200">
              <a:effectLst/>
              <a:latin typeface="Verdana" panose="020B0604030504040204" pitchFamily="34" charset="0"/>
              <a:ea typeface="Calibri" panose="020F0502020204030204" pitchFamily="34" charset="0"/>
              <a:cs typeface="Times New Roman" panose="02020603050405020304" pitchFamily="18" charset="0"/>
            </a:endParaRPr>
          </a:p>
        </p:txBody>
      </p:sp>
      <p:sp>
        <p:nvSpPr>
          <p:cNvPr id="40" name="TextBox 60">
            <a:extLst>
              <a:ext uri="{FF2B5EF4-FFF2-40B4-BE49-F238E27FC236}">
                <a16:creationId xmlns:a16="http://schemas.microsoft.com/office/drawing/2014/main" id="{BF9DA403-4F2E-EAB3-C95A-E5E74053B34F}"/>
              </a:ext>
            </a:extLst>
          </p:cNvPr>
          <p:cNvSpPr txBox="1"/>
          <p:nvPr/>
        </p:nvSpPr>
        <p:spPr>
          <a:xfrm>
            <a:off x="4019816" y="5177109"/>
            <a:ext cx="7333982" cy="377796"/>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lvl="0">
              <a:lnSpc>
                <a:spcPct val="107000"/>
              </a:lnSpc>
            </a:pPr>
            <a:r>
              <a:rPr lang="da-DK" sz="1200">
                <a:effectLst/>
                <a:latin typeface="Verdana" panose="020B0604030504040204" pitchFamily="34" charset="0"/>
                <a:ea typeface="Calibri" panose="020F0502020204030204" pitchFamily="34" charset="0"/>
                <a:cs typeface="Times New Roman" panose="02020603050405020304" pitchFamily="18" charset="0"/>
              </a:rPr>
              <a:t>Kontanter, der tages ud af kassen for at blive sat i banken, registreres i kassesystemet og debiteres på en mellemregningskonto</a:t>
            </a:r>
          </a:p>
        </p:txBody>
      </p:sp>
      <p:sp>
        <p:nvSpPr>
          <p:cNvPr id="41" name="TextBox 61">
            <a:extLst>
              <a:ext uri="{FF2B5EF4-FFF2-40B4-BE49-F238E27FC236}">
                <a16:creationId xmlns:a16="http://schemas.microsoft.com/office/drawing/2014/main" id="{2E823756-0211-EAD0-439E-DEFBCBA334AB}"/>
              </a:ext>
            </a:extLst>
          </p:cNvPr>
          <p:cNvSpPr txBox="1"/>
          <p:nvPr/>
        </p:nvSpPr>
        <p:spPr>
          <a:xfrm>
            <a:off x="4019816" y="5827110"/>
            <a:ext cx="7333982" cy="575414"/>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07000"/>
              </a:lnSpc>
              <a:spcAft>
                <a:spcPts val="800"/>
              </a:spcAft>
            </a:pPr>
            <a:r>
              <a:rPr lang="da-DK" sz="1200">
                <a:effectLst/>
                <a:latin typeface="Verdana"/>
                <a:ea typeface="Calibri"/>
                <a:cs typeface="Times New Roman"/>
              </a:rPr>
              <a:t>Kontanter, der tages ud af kassen som udlæg til indkøb, registreres i kassesystemet, og kvitteringer afleveres til kassereren. Debiteres på relevant udgiftskonto.</a:t>
            </a:r>
            <a:br>
              <a:rPr lang="da-DK" sz="1200">
                <a:effectLst/>
                <a:latin typeface="Verdana" panose="020B0604030504040204" pitchFamily="34" charset="0"/>
                <a:ea typeface="Calibri" panose="020F0502020204030204" pitchFamily="34" charset="0"/>
                <a:cs typeface="Times New Roman" panose="02020603050405020304" pitchFamily="18" charset="0"/>
              </a:rPr>
            </a:br>
            <a:r>
              <a:rPr lang="da-DK" sz="1200" b="1">
                <a:effectLst/>
                <a:latin typeface="Verdana"/>
                <a:ea typeface="Calibri"/>
                <a:cs typeface="Times New Roman"/>
              </a:rPr>
              <a:t>Det anbefales</a:t>
            </a:r>
            <a:r>
              <a:rPr lang="da-DK" sz="1200" b="1">
                <a:latin typeface="Verdana"/>
                <a:ea typeface="Calibri"/>
                <a:cs typeface="Times New Roman"/>
              </a:rPr>
              <a:t> på det kraftigste</a:t>
            </a:r>
            <a:r>
              <a:rPr lang="da-DK" sz="1200" b="1">
                <a:effectLst/>
                <a:latin typeface="Verdana"/>
                <a:ea typeface="Calibri"/>
                <a:cs typeface="Times New Roman"/>
              </a:rPr>
              <a:t>, at kontantudlæg fra kassen begrænses</a:t>
            </a:r>
            <a:endParaRPr lang="da-DK" sz="1200">
              <a:effectLst/>
              <a:latin typeface="Verdana"/>
              <a:ea typeface="Calibri"/>
              <a:cs typeface="Times New Roman"/>
            </a:endParaRPr>
          </a:p>
        </p:txBody>
      </p:sp>
      <p:sp>
        <p:nvSpPr>
          <p:cNvPr id="64" name="Tekstfelt 63">
            <a:extLst>
              <a:ext uri="{FF2B5EF4-FFF2-40B4-BE49-F238E27FC236}">
                <a16:creationId xmlns:a16="http://schemas.microsoft.com/office/drawing/2014/main" id="{C844AD32-32BF-474E-B210-A82EFA279B87}"/>
              </a:ext>
            </a:extLst>
          </p:cNvPr>
          <p:cNvSpPr txBox="1"/>
          <p:nvPr/>
        </p:nvSpPr>
        <p:spPr>
          <a:xfrm>
            <a:off x="299800" y="1669814"/>
            <a:ext cx="11951508" cy="584775"/>
          </a:xfrm>
          <a:prstGeom prst="rect">
            <a:avLst/>
          </a:prstGeom>
          <a:noFill/>
        </p:spPr>
        <p:txBody>
          <a:bodyPr wrap="square" lIns="91440" tIns="45720" rIns="91440" bIns="45720" rtlCol="0" anchor="t">
            <a:spAutoFit/>
          </a:bodyPr>
          <a:lstStyle/>
          <a:p>
            <a:r>
              <a:rPr lang="da-DK" sz="1600"/>
              <a:t>Det er ønsket at sikre en ensartet bogføring af butiksregnskaber på tværs af afdelinger, kassesystemer og </a:t>
            </a:r>
            <a:r>
              <a:rPr lang="da-DK" sz="1600" err="1"/>
              <a:t>FlexPOS</a:t>
            </a:r>
            <a:r>
              <a:rPr lang="da-DK" sz="1600"/>
              <a:t>-integration eller ikke.  </a:t>
            </a:r>
            <a:endParaRPr lang="da-DK" sz="1600">
              <a:ea typeface="Verdana"/>
            </a:endParaRPr>
          </a:p>
        </p:txBody>
      </p:sp>
      <p:cxnSp>
        <p:nvCxnSpPr>
          <p:cNvPr id="66" name="Lige forbindelse 65">
            <a:extLst>
              <a:ext uri="{FF2B5EF4-FFF2-40B4-BE49-F238E27FC236}">
                <a16:creationId xmlns:a16="http://schemas.microsoft.com/office/drawing/2014/main" id="{89002EB1-E38B-F1CF-27FA-7AFA12A43925}"/>
              </a:ext>
            </a:extLst>
          </p:cNvPr>
          <p:cNvCxnSpPr>
            <a:cxnSpLocks/>
          </p:cNvCxnSpPr>
          <p:nvPr/>
        </p:nvCxnSpPr>
        <p:spPr>
          <a:xfrm>
            <a:off x="334515" y="2303147"/>
            <a:ext cx="1129030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kstfelt 2">
            <a:extLst>
              <a:ext uri="{FF2B5EF4-FFF2-40B4-BE49-F238E27FC236}">
                <a16:creationId xmlns:a16="http://schemas.microsoft.com/office/drawing/2014/main" id="{EA0E3767-8334-3913-79CB-C8FB1B6ED3D8}"/>
              </a:ext>
            </a:extLst>
          </p:cNvPr>
          <p:cNvSpPr txBox="1"/>
          <p:nvPr/>
        </p:nvSpPr>
        <p:spPr>
          <a:xfrm>
            <a:off x="331063" y="2382173"/>
            <a:ext cx="3260693"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da-DK" sz="1600">
                <a:ea typeface="Verdana"/>
              </a:rPr>
              <a:t>Anbefalet praksis:</a:t>
            </a:r>
          </a:p>
        </p:txBody>
      </p:sp>
    </p:spTree>
    <p:extLst>
      <p:ext uri="{BB962C8B-B14F-4D97-AF65-F5344CB8AC3E}">
        <p14:creationId xmlns:p14="http://schemas.microsoft.com/office/powerpoint/2010/main" val="20012550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1">
            <a:extLst>
              <a:ext uri="{FF2B5EF4-FFF2-40B4-BE49-F238E27FC236}">
                <a16:creationId xmlns:a16="http://schemas.microsoft.com/office/drawing/2014/main" id="{A5B05232-A7AE-389D-EA8C-5DC66E37A859}"/>
              </a:ext>
            </a:extLst>
          </p:cNvPr>
          <p:cNvSpPr>
            <a:spLocks noGrp="1"/>
          </p:cNvSpPr>
          <p:nvPr>
            <p:ph type="title"/>
          </p:nvPr>
        </p:nvSpPr>
        <p:spPr/>
        <p:txBody>
          <a:bodyPr/>
          <a:lstStyle/>
          <a:p>
            <a:r>
              <a:rPr lang="da-DK"/>
              <a:t>Demonstration og </a:t>
            </a:r>
            <a:r>
              <a:rPr lang="da-DK" err="1"/>
              <a:t>hands-on</a:t>
            </a:r>
            <a:r>
              <a:rPr lang="da-DK"/>
              <a:t> i</a:t>
            </a:r>
          </a:p>
        </p:txBody>
      </p:sp>
      <p:sp>
        <p:nvSpPr>
          <p:cNvPr id="4" name="Pladsholder til sidefod 3">
            <a:extLst>
              <a:ext uri="{FF2B5EF4-FFF2-40B4-BE49-F238E27FC236}">
                <a16:creationId xmlns:a16="http://schemas.microsoft.com/office/drawing/2014/main" id="{70C7B388-563F-861C-A3FB-71D8D18891EF}"/>
              </a:ext>
            </a:extLst>
          </p:cNvPr>
          <p:cNvSpPr>
            <a:spLocks noGrp="1"/>
          </p:cNvSpPr>
          <p:nvPr>
            <p:ph type="ftr" sz="quarter" idx="11"/>
          </p:nvPr>
        </p:nvSpPr>
        <p:spPr/>
        <p:txBody>
          <a:bodyPr/>
          <a:lstStyle/>
          <a:p>
            <a:r>
              <a:rPr lang="da-DK" dirty="0"/>
              <a:t>RØDE KORS / Introduktionskursus for nye kasserere / 2025</a:t>
            </a:r>
          </a:p>
        </p:txBody>
      </p:sp>
      <p:pic>
        <p:nvPicPr>
          <p:cNvPr id="5" name="Picture 4" descr="Et billede, der indeholder Font/skrifttype, skærmbillede, Grafik, grafisk design&#10;&#10;Automatisk genereret beskrivelse">
            <a:extLst>
              <a:ext uri="{FF2B5EF4-FFF2-40B4-BE49-F238E27FC236}">
                <a16:creationId xmlns:a16="http://schemas.microsoft.com/office/drawing/2014/main" id="{866BB497-4C27-99F9-BEFD-FA608E2BBBA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34926" b="32361"/>
          <a:stretch/>
        </p:blipFill>
        <p:spPr bwMode="auto">
          <a:xfrm>
            <a:off x="2666998" y="538973"/>
            <a:ext cx="6858000" cy="2303429"/>
          </a:xfrm>
          <a:prstGeom prst="rect">
            <a:avLst/>
          </a:prstGeom>
          <a:noFill/>
          <a:extLst>
            <a:ext uri="{909E8E84-426E-40DD-AFC4-6F175D3DCCD1}">
              <a14:hiddenFill xmlns:a14="http://schemas.microsoft.com/office/drawing/2010/main">
                <a:solidFill>
                  <a:srgbClr val="FFFFFF"/>
                </a:solidFill>
              </a14:hiddenFill>
            </a:ext>
          </a:extLst>
        </p:spPr>
      </p:pic>
      <p:sp>
        <p:nvSpPr>
          <p:cNvPr id="13" name="Rektangel: afrundede hjørner 12">
            <a:extLst>
              <a:ext uri="{FF2B5EF4-FFF2-40B4-BE49-F238E27FC236}">
                <a16:creationId xmlns:a16="http://schemas.microsoft.com/office/drawing/2014/main" id="{B31EF8FF-EEC6-5DB0-56CC-D5F439CCE46E}"/>
              </a:ext>
            </a:extLst>
          </p:cNvPr>
          <p:cNvSpPr/>
          <p:nvPr/>
        </p:nvSpPr>
        <p:spPr>
          <a:xfrm>
            <a:off x="4452937" y="2434885"/>
            <a:ext cx="2957512" cy="1878020"/>
          </a:xfrm>
          <a:prstGeom prst="roundRect">
            <a:avLst>
              <a:gd name="adj" fmla="val 10000"/>
            </a:avLst>
          </a:prstGeom>
          <a:solidFill>
            <a:srgbClr val="5CC4BF"/>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da-DK"/>
          </a:p>
        </p:txBody>
      </p:sp>
      <p:grpSp>
        <p:nvGrpSpPr>
          <p:cNvPr id="14" name="Gruppe 13">
            <a:extLst>
              <a:ext uri="{FF2B5EF4-FFF2-40B4-BE49-F238E27FC236}">
                <a16:creationId xmlns:a16="http://schemas.microsoft.com/office/drawing/2014/main" id="{4D6471A8-9BB8-0344-B6A9-FBC756C512E5}"/>
              </a:ext>
            </a:extLst>
          </p:cNvPr>
          <p:cNvGrpSpPr/>
          <p:nvPr/>
        </p:nvGrpSpPr>
        <p:grpSpPr>
          <a:xfrm>
            <a:off x="4781550" y="2747067"/>
            <a:ext cx="2957512" cy="1878020"/>
            <a:chOff x="3943350" y="1414180"/>
            <a:chExt cx="2957512" cy="1878020"/>
          </a:xfrm>
        </p:grpSpPr>
        <p:sp>
          <p:nvSpPr>
            <p:cNvPr id="15" name="Rektangel: afrundede hjørner 14">
              <a:extLst>
                <a:ext uri="{FF2B5EF4-FFF2-40B4-BE49-F238E27FC236}">
                  <a16:creationId xmlns:a16="http://schemas.microsoft.com/office/drawing/2014/main" id="{0952F745-70BF-3436-9634-5EFF955BDCA6}"/>
                </a:ext>
              </a:extLst>
            </p:cNvPr>
            <p:cNvSpPr/>
            <p:nvPr/>
          </p:nvSpPr>
          <p:spPr>
            <a:xfrm>
              <a:off x="3943350" y="1414180"/>
              <a:ext cx="2957512" cy="1878020"/>
            </a:xfrm>
            <a:prstGeom prst="roundRect">
              <a:avLst>
                <a:gd name="adj" fmla="val 10000"/>
              </a:avLst>
            </a:prstGeom>
            <a:solidFill>
              <a:schemeClr val="lt1">
                <a:hueOff val="0"/>
                <a:satOff val="0"/>
                <a:lumOff val="0"/>
                <a:alpha val="95000"/>
              </a:schemeClr>
            </a:solidFill>
            <a:ln>
              <a:solidFill>
                <a:srgbClr val="5CC4BF"/>
              </a:solid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endParaRPr lang="da-DK"/>
            </a:p>
          </p:txBody>
        </p:sp>
        <p:sp>
          <p:nvSpPr>
            <p:cNvPr id="16" name="Rektangel: afrundede hjørner 5">
              <a:extLst>
                <a:ext uri="{FF2B5EF4-FFF2-40B4-BE49-F238E27FC236}">
                  <a16:creationId xmlns:a16="http://schemas.microsoft.com/office/drawing/2014/main" id="{97B9824C-C3D1-986B-5502-B2CE93CF71C7}"/>
                </a:ext>
              </a:extLst>
            </p:cNvPr>
            <p:cNvSpPr txBox="1"/>
            <p:nvPr/>
          </p:nvSpPr>
          <p:spPr>
            <a:xfrm>
              <a:off x="3998355" y="1469185"/>
              <a:ext cx="2847502" cy="176801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a-DK" sz="1600" b="1" dirty="0">
                  <a:solidFill>
                    <a:srgbClr val="5CC4BF"/>
                  </a:solidFill>
                </a:rPr>
                <a:t>Butiksbogføring med </a:t>
              </a:r>
              <a:r>
                <a:rPr lang="da-DK" sz="1600" b="1" dirty="0" err="1">
                  <a:solidFill>
                    <a:srgbClr val="5CC4BF"/>
                  </a:solidFill>
                </a:rPr>
                <a:t>FlexPOS</a:t>
              </a:r>
              <a:r>
                <a:rPr lang="da-DK" sz="1600" b="1" dirty="0">
                  <a:solidFill>
                    <a:srgbClr val="5CC4BF"/>
                  </a:solidFill>
                </a:rPr>
                <a:t>-integration</a:t>
              </a:r>
              <a:endParaRPr lang="en-US" sz="1600" b="1" kern="1200" dirty="0">
                <a:solidFill>
                  <a:srgbClr val="5CC4BF"/>
                </a:solidFill>
              </a:endParaRPr>
            </a:p>
          </p:txBody>
        </p:sp>
      </p:grpSp>
      <p:sp>
        <p:nvSpPr>
          <p:cNvPr id="3" name="Tekstfelt 2">
            <a:extLst>
              <a:ext uri="{FF2B5EF4-FFF2-40B4-BE49-F238E27FC236}">
                <a16:creationId xmlns:a16="http://schemas.microsoft.com/office/drawing/2014/main" id="{19AA9293-DE42-1F26-D569-CCD7EA4DD89B}"/>
              </a:ext>
            </a:extLst>
          </p:cNvPr>
          <p:cNvSpPr txBox="1"/>
          <p:nvPr/>
        </p:nvSpPr>
        <p:spPr>
          <a:xfrm>
            <a:off x="838199" y="5142989"/>
            <a:ext cx="10534651" cy="830997"/>
          </a:xfrm>
          <a:prstGeom prst="rect">
            <a:avLst/>
          </a:prstGeom>
          <a:noFill/>
        </p:spPr>
        <p:txBody>
          <a:bodyPr wrap="square" rtlCol="0">
            <a:spAutoFit/>
          </a:bodyPr>
          <a:lstStyle/>
          <a:p>
            <a:pPr algn="ctr"/>
            <a:r>
              <a:rPr lang="da-DK" sz="1600" b="1" dirty="0"/>
              <a:t>Vejledning 6e Bogføring – Quickguide </a:t>
            </a:r>
            <a:r>
              <a:rPr lang="da-DK" sz="1600" b="1" dirty="0" err="1"/>
              <a:t>FlexPOS</a:t>
            </a:r>
            <a:r>
              <a:rPr lang="da-DK" sz="1600" b="1" dirty="0"/>
              <a:t>-integration,</a:t>
            </a:r>
            <a:br>
              <a:rPr lang="da-DK" sz="1600" b="1" dirty="0"/>
            </a:br>
            <a:r>
              <a:rPr lang="da-DK" sz="1600" b="1" dirty="0"/>
              <a:t>6f Bogføring og skabelon Nets/MobilePay og</a:t>
            </a:r>
            <a:br>
              <a:rPr lang="da-DK" sz="1600" b="1" dirty="0"/>
            </a:br>
            <a:r>
              <a:rPr lang="da-DK" sz="1600" b="1" dirty="0"/>
              <a:t>6g Bogføring – </a:t>
            </a:r>
            <a:r>
              <a:rPr lang="da-DK" sz="1600" b="1" dirty="0" err="1"/>
              <a:t>FlexPOS</a:t>
            </a:r>
            <a:r>
              <a:rPr lang="da-DK" sz="1600" b="1" dirty="0"/>
              <a:t>-integration, fejlrettelse</a:t>
            </a:r>
          </a:p>
        </p:txBody>
      </p:sp>
    </p:spTree>
    <p:extLst>
      <p:ext uri="{BB962C8B-B14F-4D97-AF65-F5344CB8AC3E}">
        <p14:creationId xmlns:p14="http://schemas.microsoft.com/office/powerpoint/2010/main" val="26473986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4D9DD7-F862-AD72-3EA7-4D3720E813E3}"/>
              </a:ext>
            </a:extLst>
          </p:cNvPr>
          <p:cNvSpPr>
            <a:spLocks noGrp="1"/>
          </p:cNvSpPr>
          <p:nvPr>
            <p:ph type="title"/>
          </p:nvPr>
        </p:nvSpPr>
        <p:spPr>
          <a:xfrm>
            <a:off x="838200" y="723900"/>
            <a:ext cx="10515600" cy="425918"/>
          </a:xfrm>
        </p:spPr>
        <p:txBody>
          <a:bodyPr/>
          <a:lstStyle/>
          <a:p>
            <a:r>
              <a:rPr lang="da-DK" dirty="0"/>
              <a:t>Bogfør butik – afregning fra Nets</a:t>
            </a:r>
          </a:p>
        </p:txBody>
      </p:sp>
      <p:sp>
        <p:nvSpPr>
          <p:cNvPr id="3" name="Content Placeholder 2">
            <a:extLst>
              <a:ext uri="{FF2B5EF4-FFF2-40B4-BE49-F238E27FC236}">
                <a16:creationId xmlns:a16="http://schemas.microsoft.com/office/drawing/2014/main" id="{360EB705-7E98-F111-C588-C5D604D948FD}"/>
              </a:ext>
            </a:extLst>
          </p:cNvPr>
          <p:cNvSpPr>
            <a:spLocks noGrp="1"/>
          </p:cNvSpPr>
          <p:nvPr>
            <p:ph idx="1"/>
          </p:nvPr>
        </p:nvSpPr>
        <p:spPr>
          <a:xfrm>
            <a:off x="2108200" y="1269345"/>
            <a:ext cx="7975600" cy="537351"/>
          </a:xfrm>
        </p:spPr>
        <p:txBody>
          <a:bodyPr>
            <a:normAutofit/>
          </a:bodyPr>
          <a:lstStyle/>
          <a:p>
            <a:pPr algn="ctr"/>
            <a:r>
              <a:rPr lang="da-DK" sz="1800" dirty="0">
                <a:effectLst/>
                <a:latin typeface="Verdana" panose="020B0604030504040204" pitchFamily="34" charset="0"/>
                <a:ea typeface="Calibri" panose="020F0502020204030204" pitchFamily="34" charset="0"/>
                <a:cs typeface="Calibri" panose="020F0502020204030204" pitchFamily="34" charset="0"/>
              </a:rPr>
              <a:t>Afregningen fra Nets bogføres således (eksempeltal):</a:t>
            </a:r>
            <a:endParaRPr lang="da-DK" sz="1800" dirty="0">
              <a:effectLst/>
              <a:latin typeface="Verdana" panose="020B0604030504040204" pitchFamily="34" charset="0"/>
              <a:ea typeface="Calibri" panose="020F0502020204030204" pitchFamily="34" charset="0"/>
              <a:cs typeface="Times New Roman" panose="02020603050405020304" pitchFamily="18" charset="0"/>
            </a:endParaRPr>
          </a:p>
          <a:p>
            <a:pPr algn="ctr"/>
            <a:endParaRPr lang="da-DK" dirty="0"/>
          </a:p>
          <a:p>
            <a:pPr algn="ctr"/>
            <a:endParaRPr lang="da-DK" dirty="0"/>
          </a:p>
        </p:txBody>
      </p:sp>
      <p:sp>
        <p:nvSpPr>
          <p:cNvPr id="4" name="Footer Placeholder 3">
            <a:extLst>
              <a:ext uri="{FF2B5EF4-FFF2-40B4-BE49-F238E27FC236}">
                <a16:creationId xmlns:a16="http://schemas.microsoft.com/office/drawing/2014/main" id="{E568EB62-C44D-8AEC-2D86-636913691070}"/>
              </a:ext>
            </a:extLst>
          </p:cNvPr>
          <p:cNvSpPr>
            <a:spLocks noGrp="1"/>
          </p:cNvSpPr>
          <p:nvPr>
            <p:ph type="ftr" sz="quarter" idx="11"/>
          </p:nvPr>
        </p:nvSpPr>
        <p:spPr>
          <a:xfrm>
            <a:off x="712374" y="6447649"/>
            <a:ext cx="10515599" cy="237600"/>
          </a:xfrm>
        </p:spPr>
        <p:txBody>
          <a:bodyPr/>
          <a:lstStyle/>
          <a:p>
            <a:r>
              <a:rPr lang="da-DK" dirty="0"/>
              <a:t>RØDE KORS / Introduktionskursus for nye kasserere / 2025</a:t>
            </a:r>
          </a:p>
        </p:txBody>
      </p:sp>
      <p:sp>
        <p:nvSpPr>
          <p:cNvPr id="6" name="Rektangel: afrundede hjørner 5">
            <a:extLst>
              <a:ext uri="{FF2B5EF4-FFF2-40B4-BE49-F238E27FC236}">
                <a16:creationId xmlns:a16="http://schemas.microsoft.com/office/drawing/2014/main" id="{EAC29057-2F0D-99FD-CCA0-3D169E5AD638}"/>
              </a:ext>
            </a:extLst>
          </p:cNvPr>
          <p:cNvSpPr/>
          <p:nvPr/>
        </p:nvSpPr>
        <p:spPr>
          <a:xfrm>
            <a:off x="2028826" y="3207331"/>
            <a:ext cx="8134348" cy="839593"/>
          </a:xfrm>
          <a:prstGeom prst="roundRect">
            <a:avLst>
              <a:gd name="adj" fmla="val 1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defPPr>
              <a:defRPr lang="da-DK"/>
            </a:defPPr>
            <a:lvl1pPr marL="0" algn="l" defTabSz="914400" rtl="0" eaLnBrk="1" latinLnBrk="0" hangingPunct="1">
              <a:defRPr sz="1800" kern="1200">
                <a:solidFill>
                  <a:schemeClr val="dk1">
                    <a:hueOff val="0"/>
                    <a:satOff val="0"/>
                    <a:lumOff val="0"/>
                    <a:alphaOff val="0"/>
                  </a:schemeClr>
                </a:solidFill>
                <a:latin typeface="+mn-lt"/>
                <a:ea typeface="+mn-ea"/>
                <a:cs typeface="+mn-cs"/>
              </a:defRPr>
            </a:lvl1pPr>
            <a:lvl2pPr marL="457200" algn="l" defTabSz="914400" rtl="0" eaLnBrk="1" latinLnBrk="0" hangingPunct="1">
              <a:defRPr sz="1800" kern="1200">
                <a:solidFill>
                  <a:schemeClr val="dk1">
                    <a:hueOff val="0"/>
                    <a:satOff val="0"/>
                    <a:lumOff val="0"/>
                    <a:alphaOff val="0"/>
                  </a:schemeClr>
                </a:solidFill>
                <a:latin typeface="+mn-lt"/>
                <a:ea typeface="+mn-ea"/>
                <a:cs typeface="+mn-cs"/>
              </a:defRPr>
            </a:lvl2pPr>
            <a:lvl3pPr marL="914400" algn="l" defTabSz="914400" rtl="0" eaLnBrk="1" latinLnBrk="0" hangingPunct="1">
              <a:defRPr sz="1800" kern="1200">
                <a:solidFill>
                  <a:schemeClr val="dk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dk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dk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dk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dk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dk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dk1">
                    <a:hueOff val="0"/>
                    <a:satOff val="0"/>
                    <a:lumOff val="0"/>
                    <a:alphaOff val="0"/>
                  </a:schemeClr>
                </a:solidFill>
                <a:latin typeface="+mn-lt"/>
                <a:ea typeface="+mn-ea"/>
                <a:cs typeface="+mn-cs"/>
              </a:defRPr>
            </a:lvl9pPr>
          </a:lstStyle>
          <a:p>
            <a:pPr>
              <a:lnSpc>
                <a:spcPct val="107000"/>
              </a:lnSpc>
              <a:spcAft>
                <a:spcPts val="800"/>
              </a:spcAft>
            </a:pPr>
            <a:r>
              <a:rPr lang="da-DK" sz="1400" dirty="0">
                <a:effectLst/>
                <a:latin typeface="Verdana" panose="020B0604030504040204" pitchFamily="34" charset="0"/>
                <a:ea typeface="Calibri" panose="020F0502020204030204" pitchFamily="34" charset="0"/>
                <a:cs typeface="Calibri" panose="020F0502020204030204" pitchFamily="34" charset="0"/>
              </a:rPr>
              <a:t>For tydelighedens skyld er brugt samme tal som i </a:t>
            </a:r>
            <a:r>
              <a:rPr lang="da-DK" sz="1400" dirty="0">
                <a:latin typeface="Verdana" panose="020B0604030504040204" pitchFamily="34" charset="0"/>
                <a:ea typeface="Calibri" panose="020F0502020204030204" pitchFamily="34" charset="0"/>
                <a:cs typeface="Calibri" panose="020F0502020204030204" pitchFamily="34" charset="0"/>
              </a:rPr>
              <a:t>eksemplerne</a:t>
            </a:r>
            <a:r>
              <a:rPr lang="da-DK" sz="1400" dirty="0">
                <a:effectLst/>
                <a:latin typeface="Verdana" panose="020B0604030504040204" pitchFamily="34" charset="0"/>
                <a:ea typeface="Calibri" panose="020F0502020204030204" pitchFamily="34" charset="0"/>
                <a:cs typeface="Calibri" panose="020F0502020204030204" pitchFamily="34" charset="0"/>
              </a:rPr>
              <a:t> ovenfor, så det ses, at beløbet, der krediteres på konto 8320, svarer til det, der blev debiteret i forbindelse med bogføringen af dagssalget i eksemplet ovenfor.</a:t>
            </a:r>
            <a:endParaRPr lang="da-DK" sz="1400" dirty="0">
              <a:effectLst/>
              <a:latin typeface="Verdana" panose="020B0604030504040204" pitchFamily="34" charset="0"/>
              <a:ea typeface="Calibri" panose="020F0502020204030204" pitchFamily="34" charset="0"/>
              <a:cs typeface="Times New Roman" panose="02020603050405020304" pitchFamily="18" charset="0"/>
            </a:endParaRPr>
          </a:p>
        </p:txBody>
      </p:sp>
      <p:sp>
        <p:nvSpPr>
          <p:cNvPr id="8" name="Rektangel: afrundede hjørner 7">
            <a:extLst>
              <a:ext uri="{FF2B5EF4-FFF2-40B4-BE49-F238E27FC236}">
                <a16:creationId xmlns:a16="http://schemas.microsoft.com/office/drawing/2014/main" id="{7C2917B1-7C86-EA0C-E15D-9C0ADFD58B9F}"/>
              </a:ext>
            </a:extLst>
          </p:cNvPr>
          <p:cNvSpPr/>
          <p:nvPr/>
        </p:nvSpPr>
        <p:spPr>
          <a:xfrm>
            <a:off x="2028826" y="3223019"/>
            <a:ext cx="8134348" cy="839592"/>
          </a:xfrm>
          <a:prstGeom prst="roundRect">
            <a:avLst>
              <a:gd name="adj" fmla="val 1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defPPr>
              <a:defRPr lang="da-DK"/>
            </a:defPPr>
            <a:lvl1pPr marL="0" algn="l" defTabSz="914400" rtl="0" eaLnBrk="1" latinLnBrk="0" hangingPunct="1">
              <a:defRPr sz="1800" kern="1200">
                <a:solidFill>
                  <a:schemeClr val="dk1">
                    <a:hueOff val="0"/>
                    <a:satOff val="0"/>
                    <a:lumOff val="0"/>
                    <a:alphaOff val="0"/>
                  </a:schemeClr>
                </a:solidFill>
                <a:latin typeface="+mn-lt"/>
                <a:ea typeface="+mn-ea"/>
                <a:cs typeface="+mn-cs"/>
              </a:defRPr>
            </a:lvl1pPr>
            <a:lvl2pPr marL="457200" algn="l" defTabSz="914400" rtl="0" eaLnBrk="1" latinLnBrk="0" hangingPunct="1">
              <a:defRPr sz="1800" kern="1200">
                <a:solidFill>
                  <a:schemeClr val="dk1">
                    <a:hueOff val="0"/>
                    <a:satOff val="0"/>
                    <a:lumOff val="0"/>
                    <a:alphaOff val="0"/>
                  </a:schemeClr>
                </a:solidFill>
                <a:latin typeface="+mn-lt"/>
                <a:ea typeface="+mn-ea"/>
                <a:cs typeface="+mn-cs"/>
              </a:defRPr>
            </a:lvl2pPr>
            <a:lvl3pPr marL="914400" algn="l" defTabSz="914400" rtl="0" eaLnBrk="1" latinLnBrk="0" hangingPunct="1">
              <a:defRPr sz="1800" kern="1200">
                <a:solidFill>
                  <a:schemeClr val="dk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dk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dk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dk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dk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dk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dk1">
                    <a:hueOff val="0"/>
                    <a:satOff val="0"/>
                    <a:lumOff val="0"/>
                    <a:alphaOff val="0"/>
                  </a:schemeClr>
                </a:solidFill>
                <a:latin typeface="+mn-lt"/>
                <a:ea typeface="+mn-ea"/>
                <a:cs typeface="+mn-cs"/>
              </a:defRPr>
            </a:lvl9pPr>
          </a:lstStyle>
          <a:p>
            <a:pPr>
              <a:lnSpc>
                <a:spcPct val="107000"/>
              </a:lnSpc>
              <a:spcAft>
                <a:spcPts val="800"/>
              </a:spcAft>
            </a:pPr>
            <a:r>
              <a:rPr lang="da-DK" sz="1400">
                <a:effectLst/>
                <a:latin typeface="Verdana" panose="020B0604030504040204" pitchFamily="34" charset="0"/>
                <a:ea typeface="Calibri" panose="020F0502020204030204" pitchFamily="34" charset="0"/>
                <a:cs typeface="Times New Roman" panose="02020603050405020304" pitchFamily="18" charset="0"/>
              </a:rPr>
              <a:t>Nets fremsender sammen med afregningen en specifikation, hvoraf de enkelte transaktionsbeløb fremgår sammen med gebyrbeløbet. Specifikationen kan også findes ved at logge ind på afdelingens konto hos Nets.</a:t>
            </a:r>
          </a:p>
        </p:txBody>
      </p:sp>
      <p:sp>
        <p:nvSpPr>
          <p:cNvPr id="9" name="Rektangel: afrundede hjørner 8">
            <a:extLst>
              <a:ext uri="{FF2B5EF4-FFF2-40B4-BE49-F238E27FC236}">
                <a16:creationId xmlns:a16="http://schemas.microsoft.com/office/drawing/2014/main" id="{7AE998A0-7D24-0A12-251A-714C851ECAD6}"/>
              </a:ext>
            </a:extLst>
          </p:cNvPr>
          <p:cNvSpPr/>
          <p:nvPr/>
        </p:nvSpPr>
        <p:spPr>
          <a:xfrm>
            <a:off x="2028826" y="4201225"/>
            <a:ext cx="8134348" cy="456389"/>
          </a:xfrm>
          <a:prstGeom prst="roundRect">
            <a:avLst>
              <a:gd name="adj" fmla="val 1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nchor="ctr"/>
          <a:lstStyle>
            <a:defPPr>
              <a:defRPr lang="da-DK"/>
            </a:defPPr>
            <a:lvl1pPr marL="0" algn="l" defTabSz="914400" rtl="0" eaLnBrk="1" latinLnBrk="0" hangingPunct="1">
              <a:defRPr sz="1800" kern="1200">
                <a:solidFill>
                  <a:schemeClr val="dk1">
                    <a:hueOff val="0"/>
                    <a:satOff val="0"/>
                    <a:lumOff val="0"/>
                    <a:alphaOff val="0"/>
                  </a:schemeClr>
                </a:solidFill>
                <a:latin typeface="+mn-lt"/>
                <a:ea typeface="+mn-ea"/>
                <a:cs typeface="+mn-cs"/>
              </a:defRPr>
            </a:lvl1pPr>
            <a:lvl2pPr marL="457200" algn="l" defTabSz="914400" rtl="0" eaLnBrk="1" latinLnBrk="0" hangingPunct="1">
              <a:defRPr sz="1800" kern="1200">
                <a:solidFill>
                  <a:schemeClr val="dk1">
                    <a:hueOff val="0"/>
                    <a:satOff val="0"/>
                    <a:lumOff val="0"/>
                    <a:alphaOff val="0"/>
                  </a:schemeClr>
                </a:solidFill>
                <a:latin typeface="+mn-lt"/>
                <a:ea typeface="+mn-ea"/>
                <a:cs typeface="+mn-cs"/>
              </a:defRPr>
            </a:lvl2pPr>
            <a:lvl3pPr marL="914400" algn="l" defTabSz="914400" rtl="0" eaLnBrk="1" latinLnBrk="0" hangingPunct="1">
              <a:defRPr sz="1800" kern="1200">
                <a:solidFill>
                  <a:schemeClr val="dk1">
                    <a:hueOff val="0"/>
                    <a:satOff val="0"/>
                    <a:lumOff val="0"/>
                    <a:alphaOff val="0"/>
                  </a:schemeClr>
                </a:solidFill>
                <a:latin typeface="+mn-lt"/>
                <a:ea typeface="+mn-ea"/>
                <a:cs typeface="+mn-cs"/>
              </a:defRPr>
            </a:lvl3pPr>
            <a:lvl4pPr marL="1371600" algn="l" defTabSz="914400" rtl="0" eaLnBrk="1" latinLnBrk="0" hangingPunct="1">
              <a:defRPr sz="1800" kern="1200">
                <a:solidFill>
                  <a:schemeClr val="dk1">
                    <a:hueOff val="0"/>
                    <a:satOff val="0"/>
                    <a:lumOff val="0"/>
                    <a:alphaOff val="0"/>
                  </a:schemeClr>
                </a:solidFill>
                <a:latin typeface="+mn-lt"/>
                <a:ea typeface="+mn-ea"/>
                <a:cs typeface="+mn-cs"/>
              </a:defRPr>
            </a:lvl4pPr>
            <a:lvl5pPr marL="1828800" algn="l" defTabSz="914400" rtl="0" eaLnBrk="1" latinLnBrk="0" hangingPunct="1">
              <a:defRPr sz="1800" kern="1200">
                <a:solidFill>
                  <a:schemeClr val="dk1">
                    <a:hueOff val="0"/>
                    <a:satOff val="0"/>
                    <a:lumOff val="0"/>
                    <a:alphaOff val="0"/>
                  </a:schemeClr>
                </a:solidFill>
                <a:latin typeface="+mn-lt"/>
                <a:ea typeface="+mn-ea"/>
                <a:cs typeface="+mn-cs"/>
              </a:defRPr>
            </a:lvl5pPr>
            <a:lvl6pPr marL="2286000" algn="l" defTabSz="914400" rtl="0" eaLnBrk="1" latinLnBrk="0" hangingPunct="1">
              <a:defRPr sz="1800" kern="1200">
                <a:solidFill>
                  <a:schemeClr val="dk1">
                    <a:hueOff val="0"/>
                    <a:satOff val="0"/>
                    <a:lumOff val="0"/>
                    <a:alphaOff val="0"/>
                  </a:schemeClr>
                </a:solidFill>
                <a:latin typeface="+mn-lt"/>
                <a:ea typeface="+mn-ea"/>
                <a:cs typeface="+mn-cs"/>
              </a:defRPr>
            </a:lvl6pPr>
            <a:lvl7pPr marL="2743200" algn="l" defTabSz="914400" rtl="0" eaLnBrk="1" latinLnBrk="0" hangingPunct="1">
              <a:defRPr sz="1800" kern="1200">
                <a:solidFill>
                  <a:schemeClr val="dk1">
                    <a:hueOff val="0"/>
                    <a:satOff val="0"/>
                    <a:lumOff val="0"/>
                    <a:alphaOff val="0"/>
                  </a:schemeClr>
                </a:solidFill>
                <a:latin typeface="+mn-lt"/>
                <a:ea typeface="+mn-ea"/>
                <a:cs typeface="+mn-cs"/>
              </a:defRPr>
            </a:lvl7pPr>
            <a:lvl8pPr marL="3200400" algn="l" defTabSz="914400" rtl="0" eaLnBrk="1" latinLnBrk="0" hangingPunct="1">
              <a:defRPr sz="1800" kern="1200">
                <a:solidFill>
                  <a:schemeClr val="dk1">
                    <a:hueOff val="0"/>
                    <a:satOff val="0"/>
                    <a:lumOff val="0"/>
                    <a:alphaOff val="0"/>
                  </a:schemeClr>
                </a:solidFill>
                <a:latin typeface="+mn-lt"/>
                <a:ea typeface="+mn-ea"/>
                <a:cs typeface="+mn-cs"/>
              </a:defRPr>
            </a:lvl8pPr>
            <a:lvl9pPr marL="3657600" algn="l" defTabSz="914400" rtl="0" eaLnBrk="1" latinLnBrk="0" hangingPunct="1">
              <a:defRPr sz="1800" kern="1200">
                <a:solidFill>
                  <a:schemeClr val="dk1">
                    <a:hueOff val="0"/>
                    <a:satOff val="0"/>
                    <a:lumOff val="0"/>
                    <a:alphaOff val="0"/>
                  </a:schemeClr>
                </a:solidFill>
                <a:latin typeface="+mn-lt"/>
                <a:ea typeface="+mn-ea"/>
                <a:cs typeface="+mn-cs"/>
              </a:defRPr>
            </a:lvl9pPr>
          </a:lstStyle>
          <a:p>
            <a:pPr>
              <a:lnSpc>
                <a:spcPct val="107000"/>
              </a:lnSpc>
              <a:spcAft>
                <a:spcPts val="800"/>
              </a:spcAft>
            </a:pPr>
            <a:r>
              <a:rPr lang="da-DK" sz="1400">
                <a:latin typeface="Verdana" panose="020B0604030504040204" pitchFamily="34" charset="0"/>
                <a:ea typeface="Calibri" panose="020F0502020204030204" pitchFamily="34" charset="0"/>
                <a:cs typeface="Times New Roman" panose="02020603050405020304" pitchFamily="18" charset="0"/>
              </a:rPr>
              <a:t>Afhængig af afregningsmåde fra MobilePay, bogføres på samme måde.</a:t>
            </a:r>
            <a:endParaRPr lang="da-DK" sz="1400">
              <a:effectLst/>
              <a:latin typeface="Verdana" panose="020B0604030504040204" pitchFamily="34" charset="0"/>
              <a:ea typeface="Calibri" panose="020F0502020204030204" pitchFamily="34" charset="0"/>
              <a:cs typeface="Times New Roman" panose="02020603050405020304" pitchFamily="18" charset="0"/>
            </a:endParaRPr>
          </a:p>
        </p:txBody>
      </p:sp>
      <p:pic>
        <p:nvPicPr>
          <p:cNvPr id="10" name="Billede 9" descr="Et billede, der indeholder tekst, Font/skrifttype, skærmbillede, nummer/tal&#10;&#10;Indhold genereret af kunstig intelligens kan være forkert.">
            <a:extLst>
              <a:ext uri="{FF2B5EF4-FFF2-40B4-BE49-F238E27FC236}">
                <a16:creationId xmlns:a16="http://schemas.microsoft.com/office/drawing/2014/main" id="{26D6CEE6-470E-2A83-92D2-CA1E73C6A8B3}"/>
              </a:ext>
            </a:extLst>
          </p:cNvPr>
          <p:cNvPicPr>
            <a:picLocks noChangeAspect="1"/>
          </p:cNvPicPr>
          <p:nvPr/>
        </p:nvPicPr>
        <p:blipFill>
          <a:blip r:embed="rId3">
            <a:extLst>
              <a:ext uri="{28A0092B-C50C-407E-A947-70E740481C1C}">
                <a14:useLocalDpi xmlns:a14="http://schemas.microsoft.com/office/drawing/2010/main" val="0"/>
              </a:ext>
            </a:extLst>
          </a:blip>
          <a:srcRect b="903"/>
          <a:stretch/>
        </p:blipFill>
        <p:spPr>
          <a:xfrm>
            <a:off x="2030156" y="1685024"/>
            <a:ext cx="8156232" cy="1397106"/>
          </a:xfrm>
          <a:prstGeom prst="rect">
            <a:avLst/>
          </a:prstGeom>
        </p:spPr>
      </p:pic>
      <p:sp>
        <p:nvSpPr>
          <p:cNvPr id="11" name="Tekstfelt 10">
            <a:extLst>
              <a:ext uri="{FF2B5EF4-FFF2-40B4-BE49-F238E27FC236}">
                <a16:creationId xmlns:a16="http://schemas.microsoft.com/office/drawing/2014/main" id="{A5C151E1-AF99-CFF5-2831-AC256F746678}"/>
              </a:ext>
            </a:extLst>
          </p:cNvPr>
          <p:cNvSpPr txBox="1"/>
          <p:nvPr/>
        </p:nvSpPr>
        <p:spPr>
          <a:xfrm>
            <a:off x="838198" y="5920873"/>
            <a:ext cx="10534651" cy="338554"/>
          </a:xfrm>
          <a:prstGeom prst="rect">
            <a:avLst/>
          </a:prstGeom>
          <a:noFill/>
        </p:spPr>
        <p:txBody>
          <a:bodyPr wrap="square" rtlCol="0">
            <a:spAutoFit/>
          </a:bodyPr>
          <a:lstStyle/>
          <a:p>
            <a:pPr algn="ctr"/>
            <a:r>
              <a:rPr lang="da-DK" sz="1600" b="1" dirty="0"/>
              <a:t>Vejledning 6f Bogføring og skabelon Nets/MobilePay</a:t>
            </a:r>
          </a:p>
        </p:txBody>
      </p:sp>
    </p:spTree>
    <p:extLst>
      <p:ext uri="{BB962C8B-B14F-4D97-AF65-F5344CB8AC3E}">
        <p14:creationId xmlns:p14="http://schemas.microsoft.com/office/powerpoint/2010/main" val="8088432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B1BACD9-8A4A-8AE1-025A-999C3C2B4F31}"/>
              </a:ext>
            </a:extLst>
          </p:cNvPr>
          <p:cNvPicPr>
            <a:picLocks noChangeAspect="1"/>
          </p:cNvPicPr>
          <p:nvPr/>
        </p:nvPicPr>
        <p:blipFill>
          <a:blip r:embed="rId6"/>
          <a:stretch>
            <a:fillRect/>
          </a:stretch>
        </p:blipFill>
        <p:spPr>
          <a:xfrm>
            <a:off x="10131641" y="1486583"/>
            <a:ext cx="1189332" cy="1047067"/>
          </a:xfrm>
          <a:prstGeom prst="rect">
            <a:avLst/>
          </a:prstGeom>
        </p:spPr>
      </p:pic>
      <p:sp>
        <p:nvSpPr>
          <p:cNvPr id="13" name="Oval 142">
            <a:extLst>
              <a:ext uri="{FF2B5EF4-FFF2-40B4-BE49-F238E27FC236}">
                <a16:creationId xmlns:a16="http://schemas.microsoft.com/office/drawing/2014/main" id="{460F3080-CBE8-449B-9F1B-6C442528C320}"/>
              </a:ext>
            </a:extLst>
          </p:cNvPr>
          <p:cNvSpPr/>
          <p:nvPr/>
        </p:nvSpPr>
        <p:spPr>
          <a:xfrm>
            <a:off x="10064991" y="1327391"/>
            <a:ext cx="1289680" cy="1352389"/>
          </a:xfrm>
          <a:prstGeom prst="ellipse">
            <a:avLst/>
          </a:prstGeom>
          <a:noFill/>
          <a:ln w="292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defRPr>
            </a:lvl1pPr>
            <a:lvl2pPr marL="457200" algn="l" defTabSz="914400" rtl="0" eaLnBrk="1" latinLnBrk="0" hangingPunct="1">
              <a:defRPr sz="1800" kern="1200">
                <a:solidFill>
                  <a:srgbClr val="FFFFFF"/>
                </a:solidFill>
              </a:defRPr>
            </a:lvl2pPr>
            <a:lvl3pPr marL="914400" algn="l" defTabSz="914400" rtl="0" eaLnBrk="1" latinLnBrk="0" hangingPunct="1">
              <a:defRPr sz="1800" kern="1200">
                <a:solidFill>
                  <a:srgbClr val="FFFFFF"/>
                </a:solidFill>
              </a:defRPr>
            </a:lvl3pPr>
            <a:lvl4pPr marL="1371600" algn="l" defTabSz="914400" rtl="0" eaLnBrk="1" latinLnBrk="0" hangingPunct="1">
              <a:defRPr sz="1800" kern="1200">
                <a:solidFill>
                  <a:srgbClr val="FFFFFF"/>
                </a:solidFill>
              </a:defRPr>
            </a:lvl4pPr>
            <a:lvl5pPr marL="1828800" algn="l" defTabSz="914400" rtl="0" eaLnBrk="1" latinLnBrk="0" hangingPunct="1">
              <a:defRPr sz="1800" kern="1200">
                <a:solidFill>
                  <a:srgbClr val="FFFFFF"/>
                </a:solidFill>
              </a:defRPr>
            </a:lvl5pPr>
            <a:lvl6pPr marL="2286000" algn="l" defTabSz="914400" rtl="0" eaLnBrk="1" latinLnBrk="0" hangingPunct="1">
              <a:defRPr sz="1800" kern="1200">
                <a:solidFill>
                  <a:srgbClr val="FFFFFF"/>
                </a:solidFill>
              </a:defRPr>
            </a:lvl6pPr>
            <a:lvl7pPr marL="2743200" algn="l" defTabSz="914400" rtl="0" eaLnBrk="1" latinLnBrk="0" hangingPunct="1">
              <a:defRPr sz="1800" kern="1200">
                <a:solidFill>
                  <a:srgbClr val="FFFFFF"/>
                </a:solidFill>
              </a:defRPr>
            </a:lvl7pPr>
            <a:lvl8pPr marL="3200400" algn="l" defTabSz="914400" rtl="0" eaLnBrk="1" latinLnBrk="0" hangingPunct="1">
              <a:defRPr sz="1800" kern="1200">
                <a:solidFill>
                  <a:srgbClr val="FFFFFF"/>
                </a:solidFill>
              </a:defRPr>
            </a:lvl8pPr>
            <a:lvl9pPr marL="3657600" algn="l" defTabSz="914400" rtl="0" eaLnBrk="1" latinLnBrk="0" hangingPunct="1">
              <a:defRPr sz="1800" kern="1200">
                <a:solidFill>
                  <a:srgbClr val="FFFFFF"/>
                </a:solidFill>
              </a:defRPr>
            </a:lvl9pPr>
          </a:lstStyle>
          <a:p>
            <a:pPr algn="ctr"/>
            <a:endParaRPr lang="en-US"/>
          </a:p>
        </p:txBody>
      </p:sp>
      <p:pic>
        <p:nvPicPr>
          <p:cNvPr id="17" name="Billede 16" descr="Et billede, der indeholder Ansigt, smil, briller, portræt&#10;&#10;Automatisk genereret beskrivelse">
            <a:extLst>
              <a:ext uri="{FF2B5EF4-FFF2-40B4-BE49-F238E27FC236}">
                <a16:creationId xmlns:a16="http://schemas.microsoft.com/office/drawing/2014/main" id="{D8C11726-C7E5-2865-9701-2F290D3C6A8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23725" y="1433853"/>
            <a:ext cx="1152000" cy="1152000"/>
          </a:xfrm>
          <a:prstGeom prst="rect">
            <a:avLst/>
          </a:prstGeom>
        </p:spPr>
      </p:pic>
      <p:pic>
        <p:nvPicPr>
          <p:cNvPr id="9" name="Billede 8" descr="Et billede, der indeholder person, Ansigt, tøj, skjorte/bluse/T-shirt&#10;&#10;Automatisk genereret beskrivelse">
            <a:extLst>
              <a:ext uri="{FF2B5EF4-FFF2-40B4-BE49-F238E27FC236}">
                <a16:creationId xmlns:a16="http://schemas.microsoft.com/office/drawing/2014/main" id="{7711E0BC-470D-D8C1-3ADC-AE5B830EBEF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565219" y="1427586"/>
            <a:ext cx="1151998" cy="1151998"/>
          </a:xfrm>
          <a:prstGeom prst="rect">
            <a:avLst/>
          </a:prstGeom>
        </p:spPr>
      </p:pic>
      <p:graphicFrame>
        <p:nvGraphicFramePr>
          <p:cNvPr id="3086" name="Object 3085"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47" imgH="346" progId="TCLayout.ActiveDocument.1">
                  <p:embed/>
                </p:oleObj>
              </mc:Choice>
              <mc:Fallback>
                <p:oleObj name="think-cell Slide" r:id="rId9" imgW="347" imgH="346" progId="TCLayout.ActiveDocument.1">
                  <p:embed/>
                  <p:pic>
                    <p:nvPicPr>
                      <p:cNvPr id="3086" name="Object 3085" hidden="1"/>
                      <p:cNvPicPr/>
                      <p:nvPr/>
                    </p:nvPicPr>
                    <p:blipFill>
                      <a:blip r:embed="rId10"/>
                      <a:stretch>
                        <a:fillRect/>
                      </a:stretch>
                    </p:blipFill>
                    <p:spPr>
                      <a:xfrm>
                        <a:off x="1525588" y="1588"/>
                        <a:ext cx="1588" cy="1588"/>
                      </a:xfrm>
                      <a:prstGeom prst="rect">
                        <a:avLst/>
                      </a:prstGeom>
                    </p:spPr>
                  </p:pic>
                </p:oleObj>
              </mc:Fallback>
            </mc:AlternateContent>
          </a:graphicData>
        </a:graphic>
      </p:graphicFrame>
      <p:sp>
        <p:nvSpPr>
          <p:cNvPr id="2" name="Rectangle 1"/>
          <p:cNvSpPr/>
          <p:nvPr/>
        </p:nvSpPr>
        <p:spPr>
          <a:xfrm>
            <a:off x="0" y="-1"/>
            <a:ext cx="3799642" cy="6857999"/>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defRPr>
            </a:lvl1pPr>
            <a:lvl2pPr marL="457200" algn="l" defTabSz="914400" rtl="0" eaLnBrk="1" latinLnBrk="0" hangingPunct="1">
              <a:defRPr sz="1800" kern="1200">
                <a:solidFill>
                  <a:srgbClr val="FFFFFF"/>
                </a:solidFill>
              </a:defRPr>
            </a:lvl2pPr>
            <a:lvl3pPr marL="914400" algn="l" defTabSz="914400" rtl="0" eaLnBrk="1" latinLnBrk="0" hangingPunct="1">
              <a:defRPr sz="1800" kern="1200">
                <a:solidFill>
                  <a:srgbClr val="FFFFFF"/>
                </a:solidFill>
              </a:defRPr>
            </a:lvl3pPr>
            <a:lvl4pPr marL="1371600" algn="l" defTabSz="914400" rtl="0" eaLnBrk="1" latinLnBrk="0" hangingPunct="1">
              <a:defRPr sz="1800" kern="1200">
                <a:solidFill>
                  <a:srgbClr val="FFFFFF"/>
                </a:solidFill>
              </a:defRPr>
            </a:lvl4pPr>
            <a:lvl5pPr marL="1828800" algn="l" defTabSz="914400" rtl="0" eaLnBrk="1" latinLnBrk="0" hangingPunct="1">
              <a:defRPr sz="1800" kern="1200">
                <a:solidFill>
                  <a:srgbClr val="FFFFFF"/>
                </a:solidFill>
              </a:defRPr>
            </a:lvl5pPr>
            <a:lvl6pPr marL="2286000" algn="l" defTabSz="914400" rtl="0" eaLnBrk="1" latinLnBrk="0" hangingPunct="1">
              <a:defRPr sz="1800" kern="1200">
                <a:solidFill>
                  <a:srgbClr val="FFFFFF"/>
                </a:solidFill>
              </a:defRPr>
            </a:lvl6pPr>
            <a:lvl7pPr marL="2743200" algn="l" defTabSz="914400" rtl="0" eaLnBrk="1" latinLnBrk="0" hangingPunct="1">
              <a:defRPr sz="1800" kern="1200">
                <a:solidFill>
                  <a:srgbClr val="FFFFFF"/>
                </a:solidFill>
              </a:defRPr>
            </a:lvl7pPr>
            <a:lvl8pPr marL="3200400" algn="l" defTabSz="914400" rtl="0" eaLnBrk="1" latinLnBrk="0" hangingPunct="1">
              <a:defRPr sz="1800" kern="1200">
                <a:solidFill>
                  <a:srgbClr val="FFFFFF"/>
                </a:solidFill>
              </a:defRPr>
            </a:lvl8pPr>
            <a:lvl9pPr marL="3657600" algn="l" defTabSz="914400" rtl="0" eaLnBrk="1" latinLnBrk="0" hangingPunct="1">
              <a:defRPr sz="1800" kern="1200">
                <a:solidFill>
                  <a:srgbClr val="FFFFFF"/>
                </a:solidFill>
              </a:defRPr>
            </a:lvl9pPr>
          </a:lstStyle>
          <a:p>
            <a:pPr algn="ctr"/>
            <a:endParaRPr lang="nl-NL"/>
          </a:p>
        </p:txBody>
      </p:sp>
      <p:sp>
        <p:nvSpPr>
          <p:cNvPr id="34" name="Rectangle 33"/>
          <p:cNvSpPr/>
          <p:nvPr/>
        </p:nvSpPr>
        <p:spPr>
          <a:xfrm>
            <a:off x="3803437" y="-3867"/>
            <a:ext cx="2797453" cy="6857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defRPr>
            </a:lvl1pPr>
            <a:lvl2pPr marL="457200" algn="l" defTabSz="914400" rtl="0" eaLnBrk="1" latinLnBrk="0" hangingPunct="1">
              <a:defRPr sz="1800" kern="1200">
                <a:solidFill>
                  <a:srgbClr val="FFFFFF"/>
                </a:solidFill>
              </a:defRPr>
            </a:lvl2pPr>
            <a:lvl3pPr marL="914400" algn="l" defTabSz="914400" rtl="0" eaLnBrk="1" latinLnBrk="0" hangingPunct="1">
              <a:defRPr sz="1800" kern="1200">
                <a:solidFill>
                  <a:srgbClr val="FFFFFF"/>
                </a:solidFill>
              </a:defRPr>
            </a:lvl3pPr>
            <a:lvl4pPr marL="1371600" algn="l" defTabSz="914400" rtl="0" eaLnBrk="1" latinLnBrk="0" hangingPunct="1">
              <a:defRPr sz="1800" kern="1200">
                <a:solidFill>
                  <a:srgbClr val="FFFFFF"/>
                </a:solidFill>
              </a:defRPr>
            </a:lvl4pPr>
            <a:lvl5pPr marL="1828800" algn="l" defTabSz="914400" rtl="0" eaLnBrk="1" latinLnBrk="0" hangingPunct="1">
              <a:defRPr sz="1800" kern="1200">
                <a:solidFill>
                  <a:srgbClr val="FFFFFF"/>
                </a:solidFill>
              </a:defRPr>
            </a:lvl5pPr>
            <a:lvl6pPr marL="2286000" algn="l" defTabSz="914400" rtl="0" eaLnBrk="1" latinLnBrk="0" hangingPunct="1">
              <a:defRPr sz="1800" kern="1200">
                <a:solidFill>
                  <a:srgbClr val="FFFFFF"/>
                </a:solidFill>
              </a:defRPr>
            </a:lvl6pPr>
            <a:lvl7pPr marL="2743200" algn="l" defTabSz="914400" rtl="0" eaLnBrk="1" latinLnBrk="0" hangingPunct="1">
              <a:defRPr sz="1800" kern="1200">
                <a:solidFill>
                  <a:srgbClr val="FFFFFF"/>
                </a:solidFill>
              </a:defRPr>
            </a:lvl7pPr>
            <a:lvl8pPr marL="3200400" algn="l" defTabSz="914400" rtl="0" eaLnBrk="1" latinLnBrk="0" hangingPunct="1">
              <a:defRPr sz="1800" kern="1200">
                <a:solidFill>
                  <a:srgbClr val="FFFFFF"/>
                </a:solidFill>
              </a:defRPr>
            </a:lvl8pPr>
            <a:lvl9pPr marL="3657600" algn="l" defTabSz="914400" rtl="0" eaLnBrk="1" latinLnBrk="0" hangingPunct="1">
              <a:defRPr sz="1800" kern="1200">
                <a:solidFill>
                  <a:srgbClr val="FFFFFF"/>
                </a:solidFill>
              </a:defRPr>
            </a:lvl9pPr>
          </a:lstStyle>
          <a:p>
            <a:pPr algn="ctr"/>
            <a:endParaRPr lang="nl-NL"/>
          </a:p>
        </p:txBody>
      </p:sp>
      <p:sp>
        <p:nvSpPr>
          <p:cNvPr id="87" name="Rectangle 86"/>
          <p:cNvSpPr/>
          <p:nvPr/>
        </p:nvSpPr>
        <p:spPr>
          <a:xfrm>
            <a:off x="6597096" y="0"/>
            <a:ext cx="2797453" cy="46164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defRPr>
            </a:lvl1pPr>
            <a:lvl2pPr marL="457200" algn="l" defTabSz="914400" rtl="0" eaLnBrk="1" latinLnBrk="0" hangingPunct="1">
              <a:defRPr sz="1800" kern="1200">
                <a:solidFill>
                  <a:srgbClr val="FFFFFF"/>
                </a:solidFill>
              </a:defRPr>
            </a:lvl2pPr>
            <a:lvl3pPr marL="914400" algn="l" defTabSz="914400" rtl="0" eaLnBrk="1" latinLnBrk="0" hangingPunct="1">
              <a:defRPr sz="1800" kern="1200">
                <a:solidFill>
                  <a:srgbClr val="FFFFFF"/>
                </a:solidFill>
              </a:defRPr>
            </a:lvl3pPr>
            <a:lvl4pPr marL="1371600" algn="l" defTabSz="914400" rtl="0" eaLnBrk="1" latinLnBrk="0" hangingPunct="1">
              <a:defRPr sz="1800" kern="1200">
                <a:solidFill>
                  <a:srgbClr val="FFFFFF"/>
                </a:solidFill>
              </a:defRPr>
            </a:lvl4pPr>
            <a:lvl5pPr marL="1828800" algn="l" defTabSz="914400" rtl="0" eaLnBrk="1" latinLnBrk="0" hangingPunct="1">
              <a:defRPr sz="1800" kern="1200">
                <a:solidFill>
                  <a:srgbClr val="FFFFFF"/>
                </a:solidFill>
              </a:defRPr>
            </a:lvl5pPr>
            <a:lvl6pPr marL="2286000" algn="l" defTabSz="914400" rtl="0" eaLnBrk="1" latinLnBrk="0" hangingPunct="1">
              <a:defRPr sz="1800" kern="1200">
                <a:solidFill>
                  <a:srgbClr val="FFFFFF"/>
                </a:solidFill>
              </a:defRPr>
            </a:lvl6pPr>
            <a:lvl7pPr marL="2743200" algn="l" defTabSz="914400" rtl="0" eaLnBrk="1" latinLnBrk="0" hangingPunct="1">
              <a:defRPr sz="1800" kern="1200">
                <a:solidFill>
                  <a:srgbClr val="FFFFFF"/>
                </a:solidFill>
              </a:defRPr>
            </a:lvl7pPr>
            <a:lvl8pPr marL="3200400" algn="l" defTabSz="914400" rtl="0" eaLnBrk="1" latinLnBrk="0" hangingPunct="1">
              <a:defRPr sz="1800" kern="1200">
                <a:solidFill>
                  <a:srgbClr val="FFFFFF"/>
                </a:solidFill>
              </a:defRPr>
            </a:lvl8pPr>
            <a:lvl9pPr marL="3657600" algn="l" defTabSz="914400" rtl="0" eaLnBrk="1" latinLnBrk="0" hangingPunct="1">
              <a:defRPr sz="1800" kern="1200">
                <a:solidFill>
                  <a:srgbClr val="FFFFFF"/>
                </a:solidFill>
              </a:defRPr>
            </a:lvl9pPr>
          </a:lstStyle>
          <a:p>
            <a:pPr algn="ctr"/>
            <a:endParaRPr lang="nl-NL"/>
          </a:p>
        </p:txBody>
      </p:sp>
      <p:sp>
        <p:nvSpPr>
          <p:cNvPr id="7" name="TextBox 6"/>
          <p:cNvSpPr txBox="1"/>
          <p:nvPr/>
        </p:nvSpPr>
        <p:spPr>
          <a:xfrm>
            <a:off x="332542" y="1164616"/>
            <a:ext cx="3134558" cy="1661993"/>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da-DK" sz="3600" dirty="0">
                <a:solidFill>
                  <a:schemeClr val="bg1"/>
                </a:solidFill>
              </a:rPr>
              <a:t>Introduktion af teamet i Økonomi</a:t>
            </a:r>
            <a:endParaRPr lang="da-DK" sz="3600" b="1" dirty="0">
              <a:solidFill>
                <a:schemeClr val="bg1"/>
              </a:solidFill>
            </a:endParaRPr>
          </a:p>
        </p:txBody>
      </p:sp>
      <p:sp>
        <p:nvSpPr>
          <p:cNvPr id="38" name="TextBox 37"/>
          <p:cNvSpPr txBox="1"/>
          <p:nvPr/>
        </p:nvSpPr>
        <p:spPr>
          <a:xfrm>
            <a:off x="332542" y="2962916"/>
            <a:ext cx="3134558" cy="3323987"/>
          </a:xfrm>
          <a:prstGeom prst="rect">
            <a:avLst/>
          </a:prstGeom>
          <a:noFill/>
          <a:effectLst/>
        </p:spPr>
        <p:txBody>
          <a:bodyPr wrap="square" lIns="0" tIns="0" rIns="0" bIns="0" rtlCol="0" anchor="t">
            <a:spAutoFit/>
          </a:bodyPr>
          <a:lstStyle>
            <a:defPPr>
              <a:defRPr lang="en-US"/>
            </a:defPPr>
            <a:lvl1pPr marL="0" algn="ctr" defTabSz="914400" rtl="0" eaLnBrk="1" latinLnBrk="0" hangingPunct="1">
              <a:defRPr sz="1200" kern="1200">
                <a:solidFill>
                  <a:schemeClr val="bg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r>
              <a:rPr lang="en-US" dirty="0" err="1"/>
              <a:t>Økonomiafdelingen</a:t>
            </a:r>
            <a:r>
              <a:rPr lang="en-US" dirty="0"/>
              <a:t> </a:t>
            </a:r>
            <a:r>
              <a:rPr lang="en-US" dirty="0" err="1"/>
              <a:t>har</a:t>
            </a:r>
            <a:r>
              <a:rPr lang="en-US" dirty="0"/>
              <a:t> et </a:t>
            </a:r>
            <a:r>
              <a:rPr lang="en-US" dirty="0" err="1"/>
              <a:t>dedikeret</a:t>
            </a:r>
            <a:r>
              <a:rPr lang="en-US" dirty="0"/>
              <a:t> team, </a:t>
            </a:r>
            <a:r>
              <a:rPr lang="en-US" dirty="0" err="1"/>
              <a:t>Afdelingsregnskab</a:t>
            </a:r>
            <a:r>
              <a:rPr lang="en-US" dirty="0"/>
              <a:t>, </a:t>
            </a:r>
            <a:r>
              <a:rPr lang="en-US" dirty="0" err="1"/>
              <a:t>til</a:t>
            </a:r>
            <a:r>
              <a:rPr lang="en-US" dirty="0"/>
              <a:t> at </a:t>
            </a:r>
            <a:r>
              <a:rPr lang="en-US" dirty="0" err="1"/>
              <a:t>supportere</a:t>
            </a:r>
            <a:r>
              <a:rPr lang="en-US" dirty="0"/>
              <a:t> </a:t>
            </a:r>
            <a:r>
              <a:rPr lang="en-US" dirty="0" err="1"/>
              <a:t>afdelingerne</a:t>
            </a:r>
            <a:r>
              <a:rPr lang="en-US" dirty="0"/>
              <a:t>, </a:t>
            </a:r>
            <a:r>
              <a:rPr lang="en-US" dirty="0" err="1"/>
              <a:t>først</a:t>
            </a:r>
            <a:r>
              <a:rPr lang="en-US" dirty="0"/>
              <a:t> og </a:t>
            </a:r>
            <a:r>
              <a:rPr lang="en-US" dirty="0" err="1"/>
              <a:t>fremmest</a:t>
            </a:r>
            <a:r>
              <a:rPr lang="en-US" dirty="0"/>
              <a:t> </a:t>
            </a:r>
            <a:r>
              <a:rPr lang="en-US" dirty="0" err="1"/>
              <a:t>kassererne</a:t>
            </a:r>
            <a:r>
              <a:rPr lang="en-US" dirty="0"/>
              <a:t>.</a:t>
            </a:r>
            <a:br>
              <a:rPr lang="en-US" dirty="0"/>
            </a:br>
            <a:r>
              <a:rPr lang="en-US" dirty="0" err="1"/>
              <a:t>Teamet</a:t>
            </a:r>
            <a:r>
              <a:rPr lang="en-US" dirty="0"/>
              <a:t> </a:t>
            </a:r>
            <a:r>
              <a:rPr lang="en-US" dirty="0" err="1"/>
              <a:t>refererer</a:t>
            </a:r>
            <a:r>
              <a:rPr lang="en-US" dirty="0"/>
              <a:t> </a:t>
            </a:r>
            <a:r>
              <a:rPr lang="en-US" dirty="0" err="1"/>
              <a:t>til</a:t>
            </a:r>
            <a:r>
              <a:rPr lang="en-US" dirty="0"/>
              <a:t> Røde Kors’ </a:t>
            </a:r>
            <a:r>
              <a:rPr lang="en-US" dirty="0" err="1"/>
              <a:t>økonomidirektør</a:t>
            </a:r>
            <a:r>
              <a:rPr lang="en-US" dirty="0"/>
              <a:t>, Mikkel Søndergaard.</a:t>
            </a:r>
          </a:p>
          <a:p>
            <a:endParaRPr lang="en-US" dirty="0"/>
          </a:p>
          <a:p>
            <a:r>
              <a:rPr lang="en-US" dirty="0" err="1"/>
              <a:t>Supporten</a:t>
            </a:r>
            <a:r>
              <a:rPr lang="en-US" dirty="0"/>
              <a:t> </a:t>
            </a:r>
            <a:r>
              <a:rPr lang="en-US" dirty="0" err="1"/>
              <a:t>vedrører</a:t>
            </a:r>
            <a:r>
              <a:rPr lang="en-US" dirty="0"/>
              <a:t> </a:t>
            </a:r>
            <a:r>
              <a:rPr lang="en-US" dirty="0" err="1"/>
              <a:t>primært</a:t>
            </a:r>
            <a:r>
              <a:rPr lang="en-US" dirty="0"/>
              <a:t> </a:t>
            </a:r>
            <a:r>
              <a:rPr lang="en-US" dirty="0" err="1"/>
              <a:t>generelle</a:t>
            </a:r>
            <a:r>
              <a:rPr lang="en-US" dirty="0"/>
              <a:t> </a:t>
            </a:r>
            <a:r>
              <a:rPr lang="en-US" dirty="0" err="1"/>
              <a:t>økonomispørgsmål</a:t>
            </a:r>
            <a:r>
              <a:rPr lang="en-US" dirty="0"/>
              <a:t>, </a:t>
            </a:r>
            <a:r>
              <a:rPr lang="en-US" dirty="0" err="1"/>
              <a:t>herunder</a:t>
            </a:r>
            <a:r>
              <a:rPr lang="en-US" dirty="0"/>
              <a:t> det </a:t>
            </a:r>
            <a:r>
              <a:rPr lang="en-US" dirty="0" err="1"/>
              <a:t>fælles</a:t>
            </a:r>
            <a:r>
              <a:rPr lang="en-US" dirty="0"/>
              <a:t> </a:t>
            </a:r>
            <a:r>
              <a:rPr lang="en-US" dirty="0" err="1"/>
              <a:t>økonomisystem</a:t>
            </a:r>
            <a:r>
              <a:rPr lang="en-US" dirty="0"/>
              <a:t> og </a:t>
            </a:r>
            <a:r>
              <a:rPr lang="en-US" dirty="0" err="1"/>
              <a:t>uddannelse</a:t>
            </a:r>
            <a:r>
              <a:rPr lang="en-US" dirty="0"/>
              <a:t> </a:t>
            </a:r>
            <a:r>
              <a:rPr lang="en-US" dirty="0" err="1"/>
              <a:t>heri</a:t>
            </a:r>
            <a:r>
              <a:rPr lang="en-US" dirty="0"/>
              <a:t>. </a:t>
            </a:r>
          </a:p>
          <a:p>
            <a:endParaRPr lang="en-US" dirty="0"/>
          </a:p>
          <a:p>
            <a:r>
              <a:rPr lang="en-US" dirty="0"/>
              <a:t>Vi </a:t>
            </a:r>
            <a:r>
              <a:rPr lang="en-US" dirty="0" err="1"/>
              <a:t>håndterer</a:t>
            </a:r>
            <a:r>
              <a:rPr lang="en-US" dirty="0"/>
              <a:t> </a:t>
            </a:r>
            <a:r>
              <a:rPr lang="da-DK" dirty="0"/>
              <a:t>også</a:t>
            </a:r>
            <a:r>
              <a:rPr lang="en-US" dirty="0"/>
              <a:t> </a:t>
            </a:r>
            <a:r>
              <a:rPr lang="en-US" dirty="0" err="1"/>
              <a:t>samarbejdet</a:t>
            </a:r>
            <a:r>
              <a:rPr lang="en-US" dirty="0"/>
              <a:t> med </a:t>
            </a:r>
            <a:r>
              <a:rPr lang="en-US" dirty="0" err="1"/>
              <a:t>Økonomi</a:t>
            </a:r>
            <a:r>
              <a:rPr lang="en-US" dirty="0"/>
              <a:t>- og </a:t>
            </a:r>
            <a:r>
              <a:rPr lang="en-US" dirty="0" err="1"/>
              <a:t>Revisionsudvalget</a:t>
            </a:r>
            <a:r>
              <a:rPr lang="en-US" dirty="0"/>
              <a:t> (ØRU), </a:t>
            </a:r>
            <a:r>
              <a:rPr lang="en-US" dirty="0" err="1"/>
              <a:t>som</a:t>
            </a:r>
            <a:r>
              <a:rPr lang="en-US" dirty="0"/>
              <a:t> </a:t>
            </a:r>
            <a:r>
              <a:rPr lang="en-US" dirty="0" err="1"/>
              <a:t>blandt</a:t>
            </a:r>
            <a:r>
              <a:rPr lang="en-US" dirty="0"/>
              <a:t> </a:t>
            </a:r>
            <a:r>
              <a:rPr lang="en-US" dirty="0" err="1"/>
              <a:t>andet</a:t>
            </a:r>
            <a:r>
              <a:rPr lang="en-US" dirty="0"/>
              <a:t> </a:t>
            </a:r>
            <a:r>
              <a:rPr lang="en-US" dirty="0" err="1"/>
              <a:t>står</a:t>
            </a:r>
            <a:r>
              <a:rPr lang="en-US" dirty="0"/>
              <a:t> for </a:t>
            </a:r>
            <a:r>
              <a:rPr lang="en-US" dirty="0" err="1"/>
              <a:t>godkendelse</a:t>
            </a:r>
            <a:r>
              <a:rPr lang="en-US" dirty="0"/>
              <a:t> </a:t>
            </a:r>
            <a:r>
              <a:rPr lang="en-US" dirty="0" err="1"/>
              <a:t>af</a:t>
            </a:r>
            <a:r>
              <a:rPr lang="en-US" dirty="0"/>
              <a:t> </a:t>
            </a:r>
            <a:r>
              <a:rPr lang="en-US" dirty="0" err="1"/>
              <a:t>økonomivejledningen</a:t>
            </a:r>
            <a:r>
              <a:rPr lang="en-US" dirty="0"/>
              <a:t> og </a:t>
            </a:r>
            <a:r>
              <a:rPr lang="en-US" dirty="0" err="1"/>
              <a:t>godkendelse</a:t>
            </a:r>
            <a:r>
              <a:rPr lang="en-US" dirty="0"/>
              <a:t> </a:t>
            </a:r>
            <a:r>
              <a:rPr lang="en-US" dirty="0" err="1"/>
              <a:t>af</a:t>
            </a:r>
            <a:r>
              <a:rPr lang="en-US" dirty="0"/>
              <a:t> </a:t>
            </a:r>
            <a:r>
              <a:rPr lang="en-US" dirty="0" err="1"/>
              <a:t>lån</a:t>
            </a:r>
            <a:r>
              <a:rPr lang="en-US" dirty="0"/>
              <a:t> </a:t>
            </a:r>
            <a:r>
              <a:rPr lang="en-US" dirty="0" err="1"/>
              <a:t>i</a:t>
            </a:r>
            <a:r>
              <a:rPr lang="en-US" dirty="0"/>
              <a:t> National Fond, </a:t>
            </a:r>
            <a:r>
              <a:rPr lang="en-US" dirty="0" err="1"/>
              <a:t>hensættelser</a:t>
            </a:r>
            <a:r>
              <a:rPr lang="en-US" dirty="0"/>
              <a:t> og </a:t>
            </a:r>
            <a:r>
              <a:rPr lang="en-US" dirty="0" err="1"/>
              <a:t>andre</a:t>
            </a:r>
            <a:r>
              <a:rPr lang="en-US" dirty="0"/>
              <a:t> </a:t>
            </a:r>
            <a:r>
              <a:rPr lang="en-US" dirty="0" err="1"/>
              <a:t>større</a:t>
            </a:r>
            <a:r>
              <a:rPr lang="en-US" dirty="0"/>
              <a:t> </a:t>
            </a:r>
            <a:r>
              <a:rPr lang="en-US" dirty="0" err="1"/>
              <a:t>dispositioner</a:t>
            </a:r>
            <a:r>
              <a:rPr lang="en-US" dirty="0"/>
              <a:t>. </a:t>
            </a:r>
          </a:p>
          <a:p>
            <a:endParaRPr lang="en-US" dirty="0"/>
          </a:p>
        </p:txBody>
      </p:sp>
      <p:sp>
        <p:nvSpPr>
          <p:cNvPr id="39" name="TextBox 38"/>
          <p:cNvSpPr txBox="1"/>
          <p:nvPr/>
        </p:nvSpPr>
        <p:spPr>
          <a:xfrm>
            <a:off x="4342018" y="2962916"/>
            <a:ext cx="1598400" cy="492443"/>
          </a:xfrm>
          <a:prstGeom prst="rect">
            <a:avLst/>
          </a:prstGeom>
          <a:noFill/>
          <a:effectLst/>
        </p:spPr>
        <p:txBody>
          <a:bodyPr wrap="square" lIns="0" tIns="0" rIns="0" bIns="0" rtlCol="0" anchor="t">
            <a:sp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sz="2000" b="1">
                <a:solidFill>
                  <a:schemeClr val="accent1"/>
                </a:solidFill>
              </a:rPr>
              <a:t>Jakob</a:t>
            </a:r>
          </a:p>
          <a:p>
            <a:pPr algn="ctr"/>
            <a:r>
              <a:rPr lang="en-US" sz="1200" b="1">
                <a:solidFill>
                  <a:schemeClr val="accent1"/>
                </a:solidFill>
              </a:rPr>
              <a:t>August 2019</a:t>
            </a:r>
          </a:p>
        </p:txBody>
      </p:sp>
      <p:sp>
        <p:nvSpPr>
          <p:cNvPr id="111" name="TextBox 110"/>
          <p:cNvSpPr txBox="1"/>
          <p:nvPr/>
        </p:nvSpPr>
        <p:spPr>
          <a:xfrm>
            <a:off x="7139472" y="2962916"/>
            <a:ext cx="1598400" cy="492443"/>
          </a:xfrm>
          <a:prstGeom prst="rect">
            <a:avLst/>
          </a:prstGeom>
          <a:noFill/>
          <a:effectLst/>
        </p:spPr>
        <p:txBody>
          <a:bodyPr wrap="square" lIns="0" tIns="0" rIns="0" bIns="0" rtlCol="0" anchor="t">
            <a:sp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sz="2000" b="1">
                <a:solidFill>
                  <a:srgbClr val="C00000"/>
                </a:solidFill>
              </a:rPr>
              <a:t>René</a:t>
            </a:r>
          </a:p>
          <a:p>
            <a:pPr algn="ctr"/>
            <a:r>
              <a:rPr lang="en-US" sz="1200" b="1">
                <a:solidFill>
                  <a:schemeClr val="accent1"/>
                </a:solidFill>
              </a:rPr>
              <a:t>Maj 2022</a:t>
            </a:r>
          </a:p>
        </p:txBody>
      </p:sp>
      <p:sp>
        <p:nvSpPr>
          <p:cNvPr id="122" name="TextBox 121"/>
          <p:cNvSpPr txBox="1"/>
          <p:nvPr/>
        </p:nvSpPr>
        <p:spPr>
          <a:xfrm>
            <a:off x="9936924" y="2962916"/>
            <a:ext cx="1598400" cy="492443"/>
          </a:xfrm>
          <a:prstGeom prst="rect">
            <a:avLst/>
          </a:prstGeom>
          <a:noFill/>
          <a:effectLst/>
        </p:spPr>
        <p:txBody>
          <a:bodyPr wrap="square" lIns="0" tIns="0" rIns="0" bIns="0" rtlCol="0" anchor="t">
            <a:sp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sz="2000" b="1">
                <a:solidFill>
                  <a:srgbClr val="C00000"/>
                </a:solidFill>
              </a:rPr>
              <a:t>Bjarne</a:t>
            </a:r>
          </a:p>
          <a:p>
            <a:pPr algn="ctr"/>
            <a:r>
              <a:rPr lang="en-US" sz="1200" b="1">
                <a:solidFill>
                  <a:srgbClr val="C00000"/>
                </a:solidFill>
              </a:rPr>
              <a:t>Marts 2023</a:t>
            </a:r>
            <a:endParaRPr lang="nl-NL" sz="1200" b="1">
              <a:solidFill>
                <a:srgbClr val="C00000"/>
              </a:solidFill>
            </a:endParaRPr>
          </a:p>
        </p:txBody>
      </p:sp>
      <p:sp>
        <p:nvSpPr>
          <p:cNvPr id="143" name="Oval 142">
            <a:extLst>
              <a:ext uri="{FF2B5EF4-FFF2-40B4-BE49-F238E27FC236}">
                <a16:creationId xmlns:a16="http://schemas.microsoft.com/office/drawing/2014/main" id="{218F7D16-A865-4F5A-BAA9-8E26FB7BC986}"/>
              </a:ext>
            </a:extLst>
          </p:cNvPr>
          <p:cNvSpPr/>
          <p:nvPr/>
        </p:nvSpPr>
        <p:spPr>
          <a:xfrm>
            <a:off x="4482861" y="1327391"/>
            <a:ext cx="1289680" cy="1352389"/>
          </a:xfrm>
          <a:prstGeom prst="ellipse">
            <a:avLst/>
          </a:prstGeom>
          <a:noFill/>
          <a:ln w="292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defRPr>
            </a:lvl1pPr>
            <a:lvl2pPr marL="457200" algn="l" defTabSz="914400" rtl="0" eaLnBrk="1" latinLnBrk="0" hangingPunct="1">
              <a:defRPr sz="1800" kern="1200">
                <a:solidFill>
                  <a:srgbClr val="FFFFFF"/>
                </a:solidFill>
              </a:defRPr>
            </a:lvl2pPr>
            <a:lvl3pPr marL="914400" algn="l" defTabSz="914400" rtl="0" eaLnBrk="1" latinLnBrk="0" hangingPunct="1">
              <a:defRPr sz="1800" kern="1200">
                <a:solidFill>
                  <a:srgbClr val="FFFFFF"/>
                </a:solidFill>
              </a:defRPr>
            </a:lvl3pPr>
            <a:lvl4pPr marL="1371600" algn="l" defTabSz="914400" rtl="0" eaLnBrk="1" latinLnBrk="0" hangingPunct="1">
              <a:defRPr sz="1800" kern="1200">
                <a:solidFill>
                  <a:srgbClr val="FFFFFF"/>
                </a:solidFill>
              </a:defRPr>
            </a:lvl4pPr>
            <a:lvl5pPr marL="1828800" algn="l" defTabSz="914400" rtl="0" eaLnBrk="1" latinLnBrk="0" hangingPunct="1">
              <a:defRPr sz="1800" kern="1200">
                <a:solidFill>
                  <a:srgbClr val="FFFFFF"/>
                </a:solidFill>
              </a:defRPr>
            </a:lvl5pPr>
            <a:lvl6pPr marL="2286000" algn="l" defTabSz="914400" rtl="0" eaLnBrk="1" latinLnBrk="0" hangingPunct="1">
              <a:defRPr sz="1800" kern="1200">
                <a:solidFill>
                  <a:srgbClr val="FFFFFF"/>
                </a:solidFill>
              </a:defRPr>
            </a:lvl6pPr>
            <a:lvl7pPr marL="2743200" algn="l" defTabSz="914400" rtl="0" eaLnBrk="1" latinLnBrk="0" hangingPunct="1">
              <a:defRPr sz="1800" kern="1200">
                <a:solidFill>
                  <a:srgbClr val="FFFFFF"/>
                </a:solidFill>
              </a:defRPr>
            </a:lvl7pPr>
            <a:lvl8pPr marL="3200400" algn="l" defTabSz="914400" rtl="0" eaLnBrk="1" latinLnBrk="0" hangingPunct="1">
              <a:defRPr sz="1800" kern="1200">
                <a:solidFill>
                  <a:srgbClr val="FFFFFF"/>
                </a:solidFill>
              </a:defRPr>
            </a:lvl8pPr>
            <a:lvl9pPr marL="3657600" algn="l" defTabSz="914400" rtl="0" eaLnBrk="1" latinLnBrk="0" hangingPunct="1">
              <a:defRPr sz="1800" kern="1200">
                <a:solidFill>
                  <a:srgbClr val="FFFFFF"/>
                </a:solidFill>
              </a:defRPr>
            </a:lvl9pPr>
          </a:lstStyle>
          <a:p>
            <a:pPr algn="ctr"/>
            <a:endParaRPr lang="en-US"/>
          </a:p>
        </p:txBody>
      </p:sp>
      <p:sp>
        <p:nvSpPr>
          <p:cNvPr id="6" name="Rectangle 5">
            <a:extLst>
              <a:ext uri="{FF2B5EF4-FFF2-40B4-BE49-F238E27FC236}">
                <a16:creationId xmlns:a16="http://schemas.microsoft.com/office/drawing/2014/main" id="{71233063-0293-E586-9AC1-3F449052A288}"/>
              </a:ext>
            </a:extLst>
          </p:cNvPr>
          <p:cNvSpPr/>
          <p:nvPr>
            <p:custDataLst>
              <p:tags r:id="rId3"/>
            </p:custDataLst>
          </p:nvPr>
        </p:nvSpPr>
        <p:spPr>
          <a:xfrm>
            <a:off x="3799642" y="4654834"/>
            <a:ext cx="8392358" cy="2245414"/>
          </a:xfrm>
          <a:prstGeom prst="rect">
            <a:avLst/>
          </a:prstGeom>
          <a:solidFill>
            <a:srgbClr val="C00000"/>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800" b="1" dirty="0">
                <a:solidFill>
                  <a:schemeClr val="bg2"/>
                </a:solidFill>
                <a:hlinkClick r:id="rId11">
                  <a:extLst>
                    <a:ext uri="{A12FA001-AC4F-418D-AE19-62706E023703}">
                      <ahyp:hlinkClr xmlns:ahyp="http://schemas.microsoft.com/office/drawing/2018/hyperlinkcolor" val="tx"/>
                    </a:ext>
                  </a:extLst>
                </a:hlinkClick>
              </a:rPr>
              <a:t>afdregnskab@rodekors.dk</a:t>
            </a:r>
            <a:endParaRPr lang="en-US" sz="1800" b="1" dirty="0">
              <a:solidFill>
                <a:schemeClr val="bg2"/>
              </a:solidFill>
            </a:endParaRPr>
          </a:p>
          <a:p>
            <a:pPr algn="ctr"/>
            <a:endParaRPr lang="en-US" sz="1800" b="1" dirty="0">
              <a:solidFill>
                <a:schemeClr val="bg2"/>
              </a:solidFill>
            </a:endParaRPr>
          </a:p>
          <a:p>
            <a:pPr algn="ctr"/>
            <a:r>
              <a:rPr lang="en-US" b="1" dirty="0">
                <a:solidFill>
                  <a:schemeClr val="bg2"/>
                </a:solidFill>
              </a:rPr>
              <a:t>+45 35 29 94 20</a:t>
            </a:r>
            <a:endParaRPr lang="da-DK" dirty="0">
              <a:solidFill>
                <a:schemeClr val="bg2"/>
              </a:solidFill>
            </a:endParaRPr>
          </a:p>
        </p:txBody>
      </p:sp>
      <p:pic>
        <p:nvPicPr>
          <p:cNvPr id="3" name="Graphic 2">
            <a:extLst>
              <a:ext uri="{FF2B5EF4-FFF2-40B4-BE49-F238E27FC236}">
                <a16:creationId xmlns:a16="http://schemas.microsoft.com/office/drawing/2014/main" id="{4CC148B6-C5BD-F33B-BA02-A359BC94139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648716" y="5291874"/>
            <a:ext cx="447283" cy="447283"/>
          </a:xfrm>
          <a:prstGeom prst="rect">
            <a:avLst/>
          </a:prstGeom>
        </p:spPr>
      </p:pic>
      <p:pic>
        <p:nvPicPr>
          <p:cNvPr id="4" name="Graphic 3">
            <a:extLst>
              <a:ext uri="{FF2B5EF4-FFF2-40B4-BE49-F238E27FC236}">
                <a16:creationId xmlns:a16="http://schemas.microsoft.com/office/drawing/2014/main" id="{AC60546E-CF7B-74E2-F27A-4DBA8CE0C7E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618692" y="5789314"/>
            <a:ext cx="507330" cy="507330"/>
          </a:xfrm>
          <a:prstGeom prst="rect">
            <a:avLst/>
          </a:prstGeom>
        </p:spPr>
      </p:pic>
      <p:sp>
        <p:nvSpPr>
          <p:cNvPr id="8" name="Footer Placeholder 3">
            <a:extLst>
              <a:ext uri="{FF2B5EF4-FFF2-40B4-BE49-F238E27FC236}">
                <a16:creationId xmlns:a16="http://schemas.microsoft.com/office/drawing/2014/main" id="{0CF734FC-024B-F917-21B4-B0EC0B8164FC}"/>
              </a:ext>
            </a:extLst>
          </p:cNvPr>
          <p:cNvSpPr txBox="1">
            <a:spLocks/>
          </p:cNvSpPr>
          <p:nvPr/>
        </p:nvSpPr>
        <p:spPr>
          <a:xfrm>
            <a:off x="838200" y="6436262"/>
            <a:ext cx="10515599" cy="237600"/>
          </a:xfrm>
          <a:prstGeom prst="rect">
            <a:avLst/>
          </a:prstGeom>
        </p:spPr>
        <p:txBody>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800" dirty="0"/>
              <a:t>RØDE KORS / Introduktionskursus for nye kasserere / 2025</a:t>
            </a:r>
          </a:p>
        </p:txBody>
      </p:sp>
      <p:sp>
        <p:nvSpPr>
          <p:cNvPr id="11" name="Oval 142">
            <a:extLst>
              <a:ext uri="{FF2B5EF4-FFF2-40B4-BE49-F238E27FC236}">
                <a16:creationId xmlns:a16="http://schemas.microsoft.com/office/drawing/2014/main" id="{8B834888-E45F-BAE9-1279-488EAB2AF4A7}"/>
              </a:ext>
            </a:extLst>
          </p:cNvPr>
          <p:cNvSpPr/>
          <p:nvPr/>
        </p:nvSpPr>
        <p:spPr>
          <a:xfrm>
            <a:off x="7350981" y="1327391"/>
            <a:ext cx="1289680" cy="1352389"/>
          </a:xfrm>
          <a:prstGeom prst="ellipse">
            <a:avLst/>
          </a:prstGeom>
          <a:noFill/>
          <a:ln w="292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defRPr>
            </a:lvl1pPr>
            <a:lvl2pPr marL="457200" algn="l" defTabSz="914400" rtl="0" eaLnBrk="1" latinLnBrk="0" hangingPunct="1">
              <a:defRPr sz="1800" kern="1200">
                <a:solidFill>
                  <a:srgbClr val="FFFFFF"/>
                </a:solidFill>
              </a:defRPr>
            </a:lvl2pPr>
            <a:lvl3pPr marL="914400" algn="l" defTabSz="914400" rtl="0" eaLnBrk="1" latinLnBrk="0" hangingPunct="1">
              <a:defRPr sz="1800" kern="1200">
                <a:solidFill>
                  <a:srgbClr val="FFFFFF"/>
                </a:solidFill>
              </a:defRPr>
            </a:lvl3pPr>
            <a:lvl4pPr marL="1371600" algn="l" defTabSz="914400" rtl="0" eaLnBrk="1" latinLnBrk="0" hangingPunct="1">
              <a:defRPr sz="1800" kern="1200">
                <a:solidFill>
                  <a:srgbClr val="FFFFFF"/>
                </a:solidFill>
              </a:defRPr>
            </a:lvl4pPr>
            <a:lvl5pPr marL="1828800" algn="l" defTabSz="914400" rtl="0" eaLnBrk="1" latinLnBrk="0" hangingPunct="1">
              <a:defRPr sz="1800" kern="1200">
                <a:solidFill>
                  <a:srgbClr val="FFFFFF"/>
                </a:solidFill>
              </a:defRPr>
            </a:lvl5pPr>
            <a:lvl6pPr marL="2286000" algn="l" defTabSz="914400" rtl="0" eaLnBrk="1" latinLnBrk="0" hangingPunct="1">
              <a:defRPr sz="1800" kern="1200">
                <a:solidFill>
                  <a:srgbClr val="FFFFFF"/>
                </a:solidFill>
              </a:defRPr>
            </a:lvl6pPr>
            <a:lvl7pPr marL="2743200" algn="l" defTabSz="914400" rtl="0" eaLnBrk="1" latinLnBrk="0" hangingPunct="1">
              <a:defRPr sz="1800" kern="1200">
                <a:solidFill>
                  <a:srgbClr val="FFFFFF"/>
                </a:solidFill>
              </a:defRPr>
            </a:lvl7pPr>
            <a:lvl8pPr marL="3200400" algn="l" defTabSz="914400" rtl="0" eaLnBrk="1" latinLnBrk="0" hangingPunct="1">
              <a:defRPr sz="1800" kern="1200">
                <a:solidFill>
                  <a:srgbClr val="FFFFFF"/>
                </a:solidFill>
              </a:defRPr>
            </a:lvl8pPr>
            <a:lvl9pPr marL="3657600" algn="l" defTabSz="914400" rtl="0" eaLnBrk="1" latinLnBrk="0" hangingPunct="1">
              <a:defRPr sz="1800" kern="1200">
                <a:solidFill>
                  <a:srgbClr val="FFFFFF"/>
                </a:solidFill>
              </a:defRPr>
            </a:lvl9pPr>
          </a:lstStyle>
          <a:p>
            <a:pPr algn="ctr"/>
            <a:endParaRPr lang="en-US"/>
          </a:p>
        </p:txBody>
      </p:sp>
      <p:pic>
        <p:nvPicPr>
          <p:cNvPr id="5" name="Picture 9">
            <a:extLst>
              <a:ext uri="{FF2B5EF4-FFF2-40B4-BE49-F238E27FC236}">
                <a16:creationId xmlns:a16="http://schemas.microsoft.com/office/drawing/2014/main" id="{D33027B2-F5A6-6F33-E72C-93278646BD34}"/>
              </a:ext>
            </a:extLst>
          </p:cNvPr>
          <p:cNvPicPr>
            <a:picLocks noChangeAspect="1"/>
          </p:cNvPicPr>
          <p:nvPr/>
        </p:nvPicPr>
        <p:blipFill>
          <a:blip r:embed="rId6"/>
          <a:stretch>
            <a:fillRect/>
          </a:stretch>
        </p:blipFill>
        <p:spPr>
          <a:xfrm>
            <a:off x="10161591" y="1480051"/>
            <a:ext cx="1189332" cy="1047067"/>
          </a:xfrm>
          <a:prstGeom prst="rect">
            <a:avLst/>
          </a:prstGeom>
        </p:spPr>
      </p:pic>
      <p:sp>
        <p:nvSpPr>
          <p:cNvPr id="12" name="Oval 142">
            <a:extLst>
              <a:ext uri="{FF2B5EF4-FFF2-40B4-BE49-F238E27FC236}">
                <a16:creationId xmlns:a16="http://schemas.microsoft.com/office/drawing/2014/main" id="{100DB9C2-1EED-4974-1DC2-3486975E5E9E}"/>
              </a:ext>
            </a:extLst>
          </p:cNvPr>
          <p:cNvSpPr/>
          <p:nvPr/>
        </p:nvSpPr>
        <p:spPr>
          <a:xfrm>
            <a:off x="10094941" y="1320859"/>
            <a:ext cx="1289680" cy="1352389"/>
          </a:xfrm>
          <a:prstGeom prst="ellipse">
            <a:avLst/>
          </a:prstGeom>
          <a:noFill/>
          <a:ln w="292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defRPr>
            </a:lvl1pPr>
            <a:lvl2pPr marL="457200" algn="l" defTabSz="914400" rtl="0" eaLnBrk="1" latinLnBrk="0" hangingPunct="1">
              <a:defRPr sz="1800" kern="1200">
                <a:solidFill>
                  <a:srgbClr val="FFFFFF"/>
                </a:solidFill>
              </a:defRPr>
            </a:lvl2pPr>
            <a:lvl3pPr marL="914400" algn="l" defTabSz="914400" rtl="0" eaLnBrk="1" latinLnBrk="0" hangingPunct="1">
              <a:defRPr sz="1800" kern="1200">
                <a:solidFill>
                  <a:srgbClr val="FFFFFF"/>
                </a:solidFill>
              </a:defRPr>
            </a:lvl3pPr>
            <a:lvl4pPr marL="1371600" algn="l" defTabSz="914400" rtl="0" eaLnBrk="1" latinLnBrk="0" hangingPunct="1">
              <a:defRPr sz="1800" kern="1200">
                <a:solidFill>
                  <a:srgbClr val="FFFFFF"/>
                </a:solidFill>
              </a:defRPr>
            </a:lvl4pPr>
            <a:lvl5pPr marL="1828800" algn="l" defTabSz="914400" rtl="0" eaLnBrk="1" latinLnBrk="0" hangingPunct="1">
              <a:defRPr sz="1800" kern="1200">
                <a:solidFill>
                  <a:srgbClr val="FFFFFF"/>
                </a:solidFill>
              </a:defRPr>
            </a:lvl5pPr>
            <a:lvl6pPr marL="2286000" algn="l" defTabSz="914400" rtl="0" eaLnBrk="1" latinLnBrk="0" hangingPunct="1">
              <a:defRPr sz="1800" kern="1200">
                <a:solidFill>
                  <a:srgbClr val="FFFFFF"/>
                </a:solidFill>
              </a:defRPr>
            </a:lvl6pPr>
            <a:lvl7pPr marL="2743200" algn="l" defTabSz="914400" rtl="0" eaLnBrk="1" latinLnBrk="0" hangingPunct="1">
              <a:defRPr sz="1800" kern="1200">
                <a:solidFill>
                  <a:srgbClr val="FFFFFF"/>
                </a:solidFill>
              </a:defRPr>
            </a:lvl7pPr>
            <a:lvl8pPr marL="3200400" algn="l" defTabSz="914400" rtl="0" eaLnBrk="1" latinLnBrk="0" hangingPunct="1">
              <a:defRPr sz="1800" kern="1200">
                <a:solidFill>
                  <a:srgbClr val="FFFFFF"/>
                </a:solidFill>
              </a:defRPr>
            </a:lvl8pPr>
            <a:lvl9pPr marL="3657600" algn="l" defTabSz="914400" rtl="0" eaLnBrk="1" latinLnBrk="0" hangingPunct="1">
              <a:defRPr sz="1800" kern="1200">
                <a:solidFill>
                  <a:srgbClr val="FFFFFF"/>
                </a:solidFill>
              </a:defRPr>
            </a:lvl9pPr>
          </a:lstStyle>
          <a:p>
            <a:pPr algn="ctr"/>
            <a:endParaRPr lang="en-US"/>
          </a:p>
        </p:txBody>
      </p:sp>
    </p:spTree>
    <p:custDataLst>
      <p:tags r:id="rId1"/>
    </p:custDataLst>
    <p:extLst>
      <p:ext uri="{BB962C8B-B14F-4D97-AF65-F5344CB8AC3E}">
        <p14:creationId xmlns:p14="http://schemas.microsoft.com/office/powerpoint/2010/main" val="3197204977"/>
      </p:ext>
    </p:extLst>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1">
            <a:extLst>
              <a:ext uri="{FF2B5EF4-FFF2-40B4-BE49-F238E27FC236}">
                <a16:creationId xmlns:a16="http://schemas.microsoft.com/office/drawing/2014/main" id="{A5B05232-A7AE-389D-EA8C-5DC66E37A859}"/>
              </a:ext>
            </a:extLst>
          </p:cNvPr>
          <p:cNvSpPr>
            <a:spLocks noGrp="1"/>
          </p:cNvSpPr>
          <p:nvPr>
            <p:ph type="title"/>
          </p:nvPr>
        </p:nvSpPr>
        <p:spPr/>
        <p:txBody>
          <a:bodyPr/>
          <a:lstStyle/>
          <a:p>
            <a:r>
              <a:rPr lang="da-DK"/>
              <a:t>Demonstration og </a:t>
            </a:r>
            <a:r>
              <a:rPr lang="da-DK" err="1"/>
              <a:t>hands-on</a:t>
            </a:r>
            <a:r>
              <a:rPr lang="da-DK"/>
              <a:t> i</a:t>
            </a:r>
          </a:p>
        </p:txBody>
      </p:sp>
      <p:sp>
        <p:nvSpPr>
          <p:cNvPr id="4" name="Pladsholder til sidefod 3">
            <a:extLst>
              <a:ext uri="{FF2B5EF4-FFF2-40B4-BE49-F238E27FC236}">
                <a16:creationId xmlns:a16="http://schemas.microsoft.com/office/drawing/2014/main" id="{70C7B388-563F-861C-A3FB-71D8D18891EF}"/>
              </a:ext>
            </a:extLst>
          </p:cNvPr>
          <p:cNvSpPr>
            <a:spLocks noGrp="1"/>
          </p:cNvSpPr>
          <p:nvPr>
            <p:ph type="ftr" sz="quarter" idx="11"/>
          </p:nvPr>
        </p:nvSpPr>
        <p:spPr/>
        <p:txBody>
          <a:bodyPr/>
          <a:lstStyle/>
          <a:p>
            <a:r>
              <a:rPr lang="da-DK" dirty="0"/>
              <a:t>RØDE KORS / Introduktionskursus for nye kasserere / 2025</a:t>
            </a:r>
          </a:p>
        </p:txBody>
      </p:sp>
      <p:pic>
        <p:nvPicPr>
          <p:cNvPr id="5" name="Picture 4" descr="Et billede, der indeholder Font/skrifttype, skærmbillede, Grafik, grafisk design&#10;&#10;Automatisk genereret beskrivelse">
            <a:extLst>
              <a:ext uri="{FF2B5EF4-FFF2-40B4-BE49-F238E27FC236}">
                <a16:creationId xmlns:a16="http://schemas.microsoft.com/office/drawing/2014/main" id="{866BB497-4C27-99F9-BEFD-FA608E2BBBA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34926" b="32361"/>
          <a:stretch/>
        </p:blipFill>
        <p:spPr bwMode="auto">
          <a:xfrm>
            <a:off x="2666998" y="538973"/>
            <a:ext cx="6858000" cy="2303429"/>
          </a:xfrm>
          <a:prstGeom prst="rect">
            <a:avLst/>
          </a:prstGeom>
          <a:noFill/>
          <a:extLst>
            <a:ext uri="{909E8E84-426E-40DD-AFC4-6F175D3DCCD1}">
              <a14:hiddenFill xmlns:a14="http://schemas.microsoft.com/office/drawing/2010/main">
                <a:solidFill>
                  <a:srgbClr val="FFFFFF"/>
                </a:solidFill>
              </a14:hiddenFill>
            </a:ext>
          </a:extLst>
        </p:spPr>
      </p:pic>
      <p:sp>
        <p:nvSpPr>
          <p:cNvPr id="13" name="Rektangel: afrundede hjørner 12">
            <a:extLst>
              <a:ext uri="{FF2B5EF4-FFF2-40B4-BE49-F238E27FC236}">
                <a16:creationId xmlns:a16="http://schemas.microsoft.com/office/drawing/2014/main" id="{B31EF8FF-EEC6-5DB0-56CC-D5F439CCE46E}"/>
              </a:ext>
            </a:extLst>
          </p:cNvPr>
          <p:cNvSpPr/>
          <p:nvPr/>
        </p:nvSpPr>
        <p:spPr>
          <a:xfrm>
            <a:off x="4452937" y="2655222"/>
            <a:ext cx="2957512" cy="1878020"/>
          </a:xfrm>
          <a:prstGeom prst="roundRect">
            <a:avLst>
              <a:gd name="adj" fmla="val 10000"/>
            </a:avLst>
          </a:prstGeom>
          <a:solidFill>
            <a:srgbClr val="5CC4BF"/>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da-DK"/>
          </a:p>
        </p:txBody>
      </p:sp>
      <p:grpSp>
        <p:nvGrpSpPr>
          <p:cNvPr id="14" name="Gruppe 13">
            <a:extLst>
              <a:ext uri="{FF2B5EF4-FFF2-40B4-BE49-F238E27FC236}">
                <a16:creationId xmlns:a16="http://schemas.microsoft.com/office/drawing/2014/main" id="{4D6471A8-9BB8-0344-B6A9-FBC756C512E5}"/>
              </a:ext>
            </a:extLst>
          </p:cNvPr>
          <p:cNvGrpSpPr/>
          <p:nvPr/>
        </p:nvGrpSpPr>
        <p:grpSpPr>
          <a:xfrm>
            <a:off x="4781550" y="2967404"/>
            <a:ext cx="2957512" cy="1878020"/>
            <a:chOff x="3943350" y="1414180"/>
            <a:chExt cx="2957512" cy="1878020"/>
          </a:xfrm>
        </p:grpSpPr>
        <p:sp>
          <p:nvSpPr>
            <p:cNvPr id="15" name="Rektangel: afrundede hjørner 14">
              <a:extLst>
                <a:ext uri="{FF2B5EF4-FFF2-40B4-BE49-F238E27FC236}">
                  <a16:creationId xmlns:a16="http://schemas.microsoft.com/office/drawing/2014/main" id="{0952F745-70BF-3436-9634-5EFF955BDCA6}"/>
                </a:ext>
              </a:extLst>
            </p:cNvPr>
            <p:cNvSpPr/>
            <p:nvPr/>
          </p:nvSpPr>
          <p:spPr>
            <a:xfrm>
              <a:off x="3943350" y="1414180"/>
              <a:ext cx="2957512" cy="1878020"/>
            </a:xfrm>
            <a:prstGeom prst="roundRect">
              <a:avLst>
                <a:gd name="adj" fmla="val 10000"/>
              </a:avLst>
            </a:prstGeom>
            <a:solidFill>
              <a:schemeClr val="lt1">
                <a:hueOff val="0"/>
                <a:satOff val="0"/>
                <a:lumOff val="0"/>
                <a:alpha val="95000"/>
              </a:schemeClr>
            </a:solidFill>
            <a:ln>
              <a:solidFill>
                <a:srgbClr val="5CC4BF"/>
              </a:solidFill>
            </a:ln>
          </p:spPr>
          <p:style>
            <a:lnRef idx="2">
              <a:scrgbClr r="0" g="0" b="0"/>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endParaRPr lang="da-DK"/>
            </a:p>
          </p:txBody>
        </p:sp>
        <p:sp>
          <p:nvSpPr>
            <p:cNvPr id="16" name="Rektangel: afrundede hjørner 5">
              <a:extLst>
                <a:ext uri="{FF2B5EF4-FFF2-40B4-BE49-F238E27FC236}">
                  <a16:creationId xmlns:a16="http://schemas.microsoft.com/office/drawing/2014/main" id="{97B9824C-C3D1-986B-5502-B2CE93CF71C7}"/>
                </a:ext>
              </a:extLst>
            </p:cNvPr>
            <p:cNvSpPr txBox="1"/>
            <p:nvPr/>
          </p:nvSpPr>
          <p:spPr>
            <a:xfrm>
              <a:off x="3998355" y="1469185"/>
              <a:ext cx="2847502" cy="176801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a-DK" sz="1600" b="1" dirty="0">
                  <a:solidFill>
                    <a:srgbClr val="5CC4BF"/>
                  </a:solidFill>
                </a:rPr>
                <a:t>Butiksbogføring uden </a:t>
              </a:r>
              <a:r>
                <a:rPr lang="da-DK" sz="1600" b="1" dirty="0" err="1">
                  <a:solidFill>
                    <a:srgbClr val="5CC4BF"/>
                  </a:solidFill>
                </a:rPr>
                <a:t>FlexPOS</a:t>
              </a:r>
              <a:r>
                <a:rPr lang="da-DK" sz="1600" b="1" dirty="0">
                  <a:solidFill>
                    <a:srgbClr val="5CC4BF"/>
                  </a:solidFill>
                </a:rPr>
                <a:t>-integration</a:t>
              </a:r>
              <a:endParaRPr lang="en-US" sz="1600" b="1" kern="1200" dirty="0">
                <a:solidFill>
                  <a:srgbClr val="5CC4BF"/>
                </a:solidFill>
              </a:endParaRPr>
            </a:p>
          </p:txBody>
        </p:sp>
      </p:grpSp>
      <p:sp>
        <p:nvSpPr>
          <p:cNvPr id="3" name="Tekstfelt 2">
            <a:extLst>
              <a:ext uri="{FF2B5EF4-FFF2-40B4-BE49-F238E27FC236}">
                <a16:creationId xmlns:a16="http://schemas.microsoft.com/office/drawing/2014/main" id="{19AA9293-DE42-1F26-D569-CCD7EA4DD89B}"/>
              </a:ext>
            </a:extLst>
          </p:cNvPr>
          <p:cNvSpPr txBox="1"/>
          <p:nvPr/>
        </p:nvSpPr>
        <p:spPr>
          <a:xfrm>
            <a:off x="838198" y="5810703"/>
            <a:ext cx="10534651" cy="338554"/>
          </a:xfrm>
          <a:prstGeom prst="rect">
            <a:avLst/>
          </a:prstGeom>
          <a:noFill/>
        </p:spPr>
        <p:txBody>
          <a:bodyPr wrap="square" rtlCol="0">
            <a:spAutoFit/>
          </a:bodyPr>
          <a:lstStyle/>
          <a:p>
            <a:pPr algn="ctr"/>
            <a:r>
              <a:rPr lang="da-DK" sz="1600" b="1" dirty="0"/>
              <a:t>Vejledning 5 Bogføring – butik u. </a:t>
            </a:r>
            <a:r>
              <a:rPr lang="da-DK" sz="1600" b="1" dirty="0" err="1"/>
              <a:t>FlexPOS</a:t>
            </a:r>
            <a:r>
              <a:rPr lang="da-DK" sz="1600" b="1" dirty="0"/>
              <a:t>-integration</a:t>
            </a:r>
          </a:p>
        </p:txBody>
      </p:sp>
    </p:spTree>
    <p:extLst>
      <p:ext uri="{BB962C8B-B14F-4D97-AF65-F5344CB8AC3E}">
        <p14:creationId xmlns:p14="http://schemas.microsoft.com/office/powerpoint/2010/main" val="68191653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A96CB8-197F-0505-D0AB-BE7ADA8F59C3}"/>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351C110D-9F78-5E6C-F514-7CDAA3227841}"/>
              </a:ext>
            </a:extLst>
          </p:cNvPr>
          <p:cNvSpPr>
            <a:spLocks noGrp="1"/>
          </p:cNvSpPr>
          <p:nvPr>
            <p:ph type="title"/>
          </p:nvPr>
        </p:nvSpPr>
        <p:spPr/>
        <p:txBody>
          <a:bodyPr/>
          <a:lstStyle/>
          <a:p>
            <a:r>
              <a:rPr lang="en-US" dirty="0" err="1"/>
              <a:t>Fundamentet</a:t>
            </a:r>
            <a:r>
              <a:rPr lang="en-US" dirty="0"/>
              <a:t> er </a:t>
            </a:r>
            <a:r>
              <a:rPr lang="en-US" dirty="0" err="1"/>
              <a:t>på</a:t>
            </a:r>
            <a:r>
              <a:rPr lang="en-US" dirty="0"/>
              <a:t> </a:t>
            </a:r>
            <a:r>
              <a:rPr lang="en-US" dirty="0" err="1"/>
              <a:t>plads</a:t>
            </a:r>
            <a:r>
              <a:rPr lang="en-US" dirty="0"/>
              <a:t> for nye </a:t>
            </a:r>
            <a:r>
              <a:rPr lang="en-US" dirty="0" err="1"/>
              <a:t>tiltag</a:t>
            </a:r>
            <a:endParaRPr lang="da-DK" dirty="0"/>
          </a:p>
        </p:txBody>
      </p:sp>
      <p:sp>
        <p:nvSpPr>
          <p:cNvPr id="7" name="Footer Placeholder 6">
            <a:extLst>
              <a:ext uri="{FF2B5EF4-FFF2-40B4-BE49-F238E27FC236}">
                <a16:creationId xmlns:a16="http://schemas.microsoft.com/office/drawing/2014/main" id="{2827017F-B651-F553-3CD2-C8DD7C9D2C25}"/>
              </a:ext>
            </a:extLst>
          </p:cNvPr>
          <p:cNvSpPr>
            <a:spLocks noGrp="1"/>
          </p:cNvSpPr>
          <p:nvPr>
            <p:ph type="ftr" sz="quarter" idx="11"/>
          </p:nvPr>
        </p:nvSpPr>
        <p:spPr/>
        <p:txBody>
          <a:bodyPr/>
          <a:lstStyle/>
          <a:p>
            <a:r>
              <a:rPr lang="da-DK" dirty="0"/>
              <a:t>RØDE KORS / Introduktionskursus for nye kasserere / 2025</a:t>
            </a:r>
          </a:p>
        </p:txBody>
      </p:sp>
      <p:pic>
        <p:nvPicPr>
          <p:cNvPr id="3" name="Billede 2" descr="Et billede, der indeholder tekst, Font/skrifttype, skærmbillede, Grafik&#10;&#10;Beskrivelsen er genereret automatisk">
            <a:extLst>
              <a:ext uri="{FF2B5EF4-FFF2-40B4-BE49-F238E27FC236}">
                <a16:creationId xmlns:a16="http://schemas.microsoft.com/office/drawing/2014/main" id="{4EB04BD7-31D2-13E2-8F21-AEEB05983735}"/>
              </a:ext>
            </a:extLst>
          </p:cNvPr>
          <p:cNvPicPr>
            <a:picLocks noChangeAspect="1"/>
          </p:cNvPicPr>
          <p:nvPr/>
        </p:nvPicPr>
        <p:blipFill>
          <a:blip r:embed="rId3"/>
          <a:stretch>
            <a:fillRect/>
          </a:stretch>
        </p:blipFill>
        <p:spPr>
          <a:xfrm>
            <a:off x="2627914" y="1391641"/>
            <a:ext cx="2635518" cy="3005548"/>
          </a:xfrm>
          <a:prstGeom prst="rect">
            <a:avLst/>
          </a:prstGeom>
        </p:spPr>
      </p:pic>
      <p:pic>
        <p:nvPicPr>
          <p:cNvPr id="13" name="Billede 12">
            <a:extLst>
              <a:ext uri="{FF2B5EF4-FFF2-40B4-BE49-F238E27FC236}">
                <a16:creationId xmlns:a16="http://schemas.microsoft.com/office/drawing/2014/main" id="{6E2E1083-6BC5-A964-4345-2611F15B928A}"/>
              </a:ext>
            </a:extLst>
          </p:cNvPr>
          <p:cNvPicPr>
            <a:picLocks noChangeAspect="1"/>
          </p:cNvPicPr>
          <p:nvPr/>
        </p:nvPicPr>
        <p:blipFill>
          <a:blip r:embed="rId4"/>
          <a:stretch>
            <a:fillRect/>
          </a:stretch>
        </p:blipFill>
        <p:spPr>
          <a:xfrm>
            <a:off x="311852" y="2692872"/>
            <a:ext cx="2378807" cy="2593877"/>
          </a:xfrm>
          <a:prstGeom prst="rect">
            <a:avLst/>
          </a:prstGeom>
        </p:spPr>
      </p:pic>
      <p:sp>
        <p:nvSpPr>
          <p:cNvPr id="16" name="Speech Bubble: Rectangle 15">
            <a:extLst>
              <a:ext uri="{FF2B5EF4-FFF2-40B4-BE49-F238E27FC236}">
                <a16:creationId xmlns:a16="http://schemas.microsoft.com/office/drawing/2014/main" id="{F9133F40-817A-947F-033A-153248156241}"/>
              </a:ext>
            </a:extLst>
          </p:cNvPr>
          <p:cNvSpPr/>
          <p:nvPr/>
        </p:nvSpPr>
        <p:spPr>
          <a:xfrm>
            <a:off x="7450645" y="5065130"/>
            <a:ext cx="1661725" cy="991697"/>
          </a:xfrm>
          <a:prstGeom prst="wedgeRectCallou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Moms</a:t>
            </a:r>
            <a:endParaRPr lang="da-DK"/>
          </a:p>
        </p:txBody>
      </p:sp>
      <p:sp>
        <p:nvSpPr>
          <p:cNvPr id="17" name="Speech Bubble: Rectangle with Corners Rounded 16">
            <a:extLst>
              <a:ext uri="{FF2B5EF4-FFF2-40B4-BE49-F238E27FC236}">
                <a16:creationId xmlns:a16="http://schemas.microsoft.com/office/drawing/2014/main" id="{B67F507C-BEB2-DF36-F3B9-41A10F3ABA7A}"/>
              </a:ext>
            </a:extLst>
          </p:cNvPr>
          <p:cNvSpPr/>
          <p:nvPr/>
        </p:nvSpPr>
        <p:spPr>
          <a:xfrm>
            <a:off x="7157193" y="2868801"/>
            <a:ext cx="1764226" cy="958690"/>
          </a:xfrm>
          <a:prstGeom prst="wedgeRoundRectCallout">
            <a:avLst/>
          </a:prstGeom>
          <a:solidFill>
            <a:schemeClr val="tx2"/>
          </a:solidFill>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dirty="0"/>
              <a:t>Rapport </a:t>
            </a:r>
            <a:r>
              <a:rPr lang="en-US" dirty="0" err="1"/>
              <a:t>til</a:t>
            </a:r>
            <a:r>
              <a:rPr lang="en-US" dirty="0"/>
              <a:t> </a:t>
            </a:r>
            <a:r>
              <a:rPr lang="en-US" dirty="0" err="1"/>
              <a:t>årsafslutning</a:t>
            </a:r>
            <a:endParaRPr lang="da-DK" dirty="0"/>
          </a:p>
        </p:txBody>
      </p:sp>
      <p:sp>
        <p:nvSpPr>
          <p:cNvPr id="18" name="Speech Bubble: Oval 17">
            <a:extLst>
              <a:ext uri="{FF2B5EF4-FFF2-40B4-BE49-F238E27FC236}">
                <a16:creationId xmlns:a16="http://schemas.microsoft.com/office/drawing/2014/main" id="{C10426D5-046A-6091-35CA-029227E98ECB}"/>
              </a:ext>
            </a:extLst>
          </p:cNvPr>
          <p:cNvSpPr/>
          <p:nvPr/>
        </p:nvSpPr>
        <p:spPr>
          <a:xfrm>
            <a:off x="8072643" y="3645869"/>
            <a:ext cx="2365705" cy="1167856"/>
          </a:xfrm>
          <a:prstGeom prst="wedgeEllipseCallout">
            <a:avLst/>
          </a:prstGeom>
          <a:solidFill>
            <a:schemeClr val="accent1">
              <a:lumMod val="75000"/>
            </a:schemeClr>
          </a:solidFill>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US" err="1">
                <a:solidFill>
                  <a:schemeClr val="bg1"/>
                </a:solidFill>
              </a:rPr>
              <a:t>Paperflow</a:t>
            </a:r>
            <a:endParaRPr lang="da-DK">
              <a:solidFill>
                <a:schemeClr val="bg1"/>
              </a:solidFill>
            </a:endParaRPr>
          </a:p>
        </p:txBody>
      </p:sp>
      <p:sp>
        <p:nvSpPr>
          <p:cNvPr id="21" name="Speech Bubble: Rectangle 20">
            <a:extLst>
              <a:ext uri="{FF2B5EF4-FFF2-40B4-BE49-F238E27FC236}">
                <a16:creationId xmlns:a16="http://schemas.microsoft.com/office/drawing/2014/main" id="{7A1A4736-A71F-5216-09B8-07C55421E5BC}"/>
              </a:ext>
            </a:extLst>
          </p:cNvPr>
          <p:cNvSpPr/>
          <p:nvPr/>
        </p:nvSpPr>
        <p:spPr>
          <a:xfrm>
            <a:off x="4040722" y="3391838"/>
            <a:ext cx="2054832" cy="1114205"/>
          </a:xfrm>
          <a:prstGeom prst="wedgeRectCallout">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US" dirty="0" err="1">
                <a:solidFill>
                  <a:schemeClr val="tx1"/>
                </a:solidFill>
              </a:rPr>
              <a:t>Dimensioner</a:t>
            </a:r>
            <a:endParaRPr lang="da-DK" dirty="0">
              <a:solidFill>
                <a:schemeClr val="tx1"/>
              </a:solidFill>
            </a:endParaRPr>
          </a:p>
        </p:txBody>
      </p:sp>
      <p:sp>
        <p:nvSpPr>
          <p:cNvPr id="22" name="Thought Bubble: Cloud 21">
            <a:extLst>
              <a:ext uri="{FF2B5EF4-FFF2-40B4-BE49-F238E27FC236}">
                <a16:creationId xmlns:a16="http://schemas.microsoft.com/office/drawing/2014/main" id="{F9B5B83B-DEC5-E6DF-41E7-29E8FE5DC7E5}"/>
              </a:ext>
            </a:extLst>
          </p:cNvPr>
          <p:cNvSpPr/>
          <p:nvPr/>
        </p:nvSpPr>
        <p:spPr>
          <a:xfrm>
            <a:off x="698974" y="1627542"/>
            <a:ext cx="2592539" cy="1656097"/>
          </a:xfrm>
          <a:prstGeom prst="cloudCallout">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err="1">
                <a:solidFill>
                  <a:schemeClr val="tx1"/>
                </a:solidFill>
              </a:rPr>
              <a:t>Forenklet</a:t>
            </a:r>
            <a:r>
              <a:rPr lang="en-US">
                <a:solidFill>
                  <a:schemeClr val="tx1"/>
                </a:solidFill>
              </a:rPr>
              <a:t> </a:t>
            </a:r>
            <a:r>
              <a:rPr lang="en-US" err="1">
                <a:solidFill>
                  <a:schemeClr val="tx1"/>
                </a:solidFill>
              </a:rPr>
              <a:t>bogføring</a:t>
            </a:r>
            <a:r>
              <a:rPr lang="en-US">
                <a:solidFill>
                  <a:schemeClr val="tx1"/>
                </a:solidFill>
              </a:rPr>
              <a:t> via Excel upload</a:t>
            </a:r>
            <a:endParaRPr lang="da-DK">
              <a:solidFill>
                <a:schemeClr val="tx1"/>
              </a:solidFill>
            </a:endParaRPr>
          </a:p>
        </p:txBody>
      </p:sp>
      <p:sp>
        <p:nvSpPr>
          <p:cNvPr id="23" name="Speech Bubble: Rectangle with Corners Rounded 22">
            <a:extLst>
              <a:ext uri="{FF2B5EF4-FFF2-40B4-BE49-F238E27FC236}">
                <a16:creationId xmlns:a16="http://schemas.microsoft.com/office/drawing/2014/main" id="{BB56E05E-EAA7-E845-B72E-F7AFB9D36DDD}"/>
              </a:ext>
            </a:extLst>
          </p:cNvPr>
          <p:cNvSpPr/>
          <p:nvPr/>
        </p:nvSpPr>
        <p:spPr>
          <a:xfrm>
            <a:off x="3291513" y="4970501"/>
            <a:ext cx="2340911" cy="1456440"/>
          </a:xfrm>
          <a:prstGeom prst="wedgeRoundRectCallou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dirty="0" err="1"/>
              <a:t>Rapporter</a:t>
            </a:r>
            <a:endParaRPr lang="da-DK" dirty="0"/>
          </a:p>
        </p:txBody>
      </p:sp>
      <p:sp>
        <p:nvSpPr>
          <p:cNvPr id="24" name="Speech Bubble: Oval 23">
            <a:extLst>
              <a:ext uri="{FF2B5EF4-FFF2-40B4-BE49-F238E27FC236}">
                <a16:creationId xmlns:a16="http://schemas.microsoft.com/office/drawing/2014/main" id="{F59773B3-CEEE-2478-DAC3-71AE971AAD15}"/>
              </a:ext>
            </a:extLst>
          </p:cNvPr>
          <p:cNvSpPr/>
          <p:nvPr/>
        </p:nvSpPr>
        <p:spPr>
          <a:xfrm>
            <a:off x="8857575" y="4583231"/>
            <a:ext cx="2746835" cy="1399562"/>
          </a:xfrm>
          <a:prstGeom prst="wedgeEllipseCallout">
            <a:avLst/>
          </a:prstGeom>
        </p:spPr>
        <p:style>
          <a:lnRef idx="2">
            <a:schemeClr val="accent3">
              <a:shade val="15000"/>
            </a:schemeClr>
          </a:lnRef>
          <a:fillRef idx="1">
            <a:schemeClr val="accent3"/>
          </a:fillRef>
          <a:effectRef idx="0">
            <a:schemeClr val="accent3"/>
          </a:effectRef>
          <a:fontRef idx="minor">
            <a:schemeClr val="lt1"/>
          </a:fontRef>
        </p:style>
        <p:txBody>
          <a:bodyPr rtlCol="0" anchor="ctr"/>
          <a:lstStyle/>
          <a:p>
            <a:pPr algn="ctr"/>
            <a:r>
              <a:rPr lang="en-US" dirty="0">
                <a:solidFill>
                  <a:schemeClr val="tx1"/>
                </a:solidFill>
              </a:rPr>
              <a:t>Budget-</a:t>
            </a:r>
            <a:r>
              <a:rPr lang="en-US" dirty="0" err="1">
                <a:solidFill>
                  <a:schemeClr val="tx1"/>
                </a:solidFill>
              </a:rPr>
              <a:t>opfølgning</a:t>
            </a:r>
            <a:r>
              <a:rPr lang="en-US" dirty="0">
                <a:solidFill>
                  <a:schemeClr val="tx1"/>
                </a:solidFill>
              </a:rPr>
              <a:t> </a:t>
            </a:r>
            <a:r>
              <a:rPr lang="en-US" dirty="0" err="1">
                <a:solidFill>
                  <a:schemeClr val="tx1"/>
                </a:solidFill>
              </a:rPr>
              <a:t>i</a:t>
            </a:r>
            <a:r>
              <a:rPr lang="en-US" dirty="0">
                <a:solidFill>
                  <a:schemeClr val="tx1"/>
                </a:solidFill>
              </a:rPr>
              <a:t> </a:t>
            </a:r>
            <a:r>
              <a:rPr lang="en-US" dirty="0" err="1">
                <a:solidFill>
                  <a:schemeClr val="tx1"/>
                </a:solidFill>
              </a:rPr>
              <a:t>Uniconta</a:t>
            </a:r>
            <a:endParaRPr lang="da-DK" dirty="0">
              <a:solidFill>
                <a:schemeClr val="tx1"/>
              </a:solidFill>
            </a:endParaRPr>
          </a:p>
        </p:txBody>
      </p:sp>
      <p:sp>
        <p:nvSpPr>
          <p:cNvPr id="25" name="Speech Bubble: Rectangle 24">
            <a:extLst>
              <a:ext uri="{FF2B5EF4-FFF2-40B4-BE49-F238E27FC236}">
                <a16:creationId xmlns:a16="http://schemas.microsoft.com/office/drawing/2014/main" id="{B6833591-8547-7DF3-3D47-56F2CB895729}"/>
              </a:ext>
            </a:extLst>
          </p:cNvPr>
          <p:cNvSpPr/>
          <p:nvPr/>
        </p:nvSpPr>
        <p:spPr>
          <a:xfrm>
            <a:off x="111164" y="5167553"/>
            <a:ext cx="2642730" cy="1259388"/>
          </a:xfrm>
          <a:prstGeom prst="wedgeRectCallout">
            <a:avLst/>
          </a:prstGeom>
          <a:solidFill>
            <a:schemeClr val="tx2"/>
          </a:solidFill>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r>
              <a:rPr lang="en-US" dirty="0" err="1">
                <a:solidFill>
                  <a:schemeClr val="bg1"/>
                </a:solidFill>
              </a:rPr>
              <a:t>Debitor</a:t>
            </a:r>
            <a:r>
              <a:rPr lang="en-US" dirty="0">
                <a:solidFill>
                  <a:schemeClr val="bg1"/>
                </a:solidFill>
              </a:rPr>
              <a:t>/</a:t>
            </a:r>
            <a:r>
              <a:rPr lang="en-US" dirty="0" err="1">
                <a:solidFill>
                  <a:schemeClr val="bg1"/>
                </a:solidFill>
              </a:rPr>
              <a:t>kreditor</a:t>
            </a:r>
            <a:endParaRPr lang="en-US" dirty="0">
              <a:solidFill>
                <a:schemeClr val="bg1"/>
              </a:solidFill>
            </a:endParaRPr>
          </a:p>
          <a:p>
            <a:pPr algn="ctr"/>
            <a:r>
              <a:rPr lang="en-US" dirty="0">
                <a:solidFill>
                  <a:schemeClr val="bg1"/>
                </a:solidFill>
              </a:rPr>
              <a:t>(light -&gt; medium)</a:t>
            </a:r>
            <a:endParaRPr lang="da-DK" dirty="0">
              <a:solidFill>
                <a:schemeClr val="bg1"/>
              </a:solidFill>
            </a:endParaRPr>
          </a:p>
        </p:txBody>
      </p:sp>
      <p:sp>
        <p:nvSpPr>
          <p:cNvPr id="4" name="Speech Bubble: Rectangle with Corners Rounded 3">
            <a:extLst>
              <a:ext uri="{FF2B5EF4-FFF2-40B4-BE49-F238E27FC236}">
                <a16:creationId xmlns:a16="http://schemas.microsoft.com/office/drawing/2014/main" id="{4D05EF82-111D-86B2-C305-B813CDD59A50}"/>
              </a:ext>
            </a:extLst>
          </p:cNvPr>
          <p:cNvSpPr/>
          <p:nvPr/>
        </p:nvSpPr>
        <p:spPr>
          <a:xfrm>
            <a:off x="9112370" y="2655717"/>
            <a:ext cx="2340911" cy="1192504"/>
          </a:xfrm>
          <a:prstGeom prst="wedgeRoundRectCallout">
            <a:avLst/>
          </a:prstGeom>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algn="ctr"/>
            <a:r>
              <a:rPr lang="en-US" dirty="0" err="1"/>
              <a:t>Flere</a:t>
            </a:r>
            <a:r>
              <a:rPr lang="en-US" dirty="0"/>
              <a:t> </a:t>
            </a:r>
            <a:r>
              <a:rPr lang="en-US" dirty="0" err="1"/>
              <a:t>rapporter</a:t>
            </a:r>
            <a:endParaRPr lang="da-DK" dirty="0"/>
          </a:p>
        </p:txBody>
      </p:sp>
      <p:sp>
        <p:nvSpPr>
          <p:cNvPr id="19" name="Thought Bubble: Cloud 18">
            <a:extLst>
              <a:ext uri="{FF2B5EF4-FFF2-40B4-BE49-F238E27FC236}">
                <a16:creationId xmlns:a16="http://schemas.microsoft.com/office/drawing/2014/main" id="{269B10D9-4941-56E4-AC53-C093F486290A}"/>
              </a:ext>
            </a:extLst>
          </p:cNvPr>
          <p:cNvSpPr/>
          <p:nvPr/>
        </p:nvSpPr>
        <p:spPr>
          <a:xfrm>
            <a:off x="1817799" y="3935740"/>
            <a:ext cx="2592539" cy="1656097"/>
          </a:xfrm>
          <a:prstGeom prst="cloudCallout">
            <a:avLst/>
          </a:prstGeom>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a:r>
              <a:rPr lang="en-US" dirty="0">
                <a:solidFill>
                  <a:schemeClr val="tx1"/>
                </a:solidFill>
              </a:rPr>
              <a:t>App</a:t>
            </a:r>
            <a:r>
              <a:rPr lang="en-US" dirty="0">
                <a:ln w="0"/>
                <a:solidFill>
                  <a:schemeClr val="accent3">
                    <a:lumMod val="75000"/>
                  </a:schemeClr>
                </a:solidFill>
                <a:effectLst>
                  <a:outerShdw blurRad="38100" dist="25400" dir="5400000" algn="ctr" rotWithShape="0">
                    <a:srgbClr val="6E747A">
                      <a:alpha val="43000"/>
                    </a:srgbClr>
                  </a:outerShdw>
                </a:effectLst>
              </a:rPr>
              <a:t> </a:t>
            </a:r>
            <a:r>
              <a:rPr lang="en-US" dirty="0">
                <a:solidFill>
                  <a:schemeClr val="tx1"/>
                </a:solidFill>
              </a:rPr>
              <a:t>/approval</a:t>
            </a:r>
            <a:endParaRPr lang="da-DK" dirty="0">
              <a:solidFill>
                <a:schemeClr val="tx1"/>
              </a:solidFill>
            </a:endParaRPr>
          </a:p>
        </p:txBody>
      </p:sp>
      <p:sp>
        <p:nvSpPr>
          <p:cNvPr id="10" name="Rectangle: Rounded Corners 9">
            <a:extLst>
              <a:ext uri="{FF2B5EF4-FFF2-40B4-BE49-F238E27FC236}">
                <a16:creationId xmlns:a16="http://schemas.microsoft.com/office/drawing/2014/main" id="{DF17E882-FC8A-84E4-CABD-E93ED8F44855}"/>
              </a:ext>
            </a:extLst>
          </p:cNvPr>
          <p:cNvSpPr/>
          <p:nvPr/>
        </p:nvSpPr>
        <p:spPr>
          <a:xfrm rot="19924252">
            <a:off x="814477" y="2681416"/>
            <a:ext cx="4954073" cy="1825640"/>
          </a:xfrm>
          <a:custGeom>
            <a:avLst/>
            <a:gdLst>
              <a:gd name="connsiteX0" fmla="*/ 0 w 4954073"/>
              <a:gd name="connsiteY0" fmla="*/ 304279 h 1825640"/>
              <a:gd name="connsiteX1" fmla="*/ 304279 w 4954073"/>
              <a:gd name="connsiteY1" fmla="*/ 0 h 1825640"/>
              <a:gd name="connsiteX2" fmla="*/ 934379 w 4954073"/>
              <a:gd name="connsiteY2" fmla="*/ 0 h 1825640"/>
              <a:gd name="connsiteX3" fmla="*/ 1564478 w 4954073"/>
              <a:gd name="connsiteY3" fmla="*/ 0 h 1825640"/>
              <a:gd name="connsiteX4" fmla="*/ 2194578 w 4954073"/>
              <a:gd name="connsiteY4" fmla="*/ 0 h 1825640"/>
              <a:gd name="connsiteX5" fmla="*/ 2650857 w 4954073"/>
              <a:gd name="connsiteY5" fmla="*/ 0 h 1825640"/>
              <a:gd name="connsiteX6" fmla="*/ 3237502 w 4954073"/>
              <a:gd name="connsiteY6" fmla="*/ 0 h 1825640"/>
              <a:gd name="connsiteX7" fmla="*/ 3780691 w 4954073"/>
              <a:gd name="connsiteY7" fmla="*/ 0 h 1825640"/>
              <a:gd name="connsiteX8" fmla="*/ 4649794 w 4954073"/>
              <a:gd name="connsiteY8" fmla="*/ 0 h 1825640"/>
              <a:gd name="connsiteX9" fmla="*/ 4954073 w 4954073"/>
              <a:gd name="connsiteY9" fmla="*/ 304279 h 1825640"/>
              <a:gd name="connsiteX10" fmla="*/ 4954073 w 4954073"/>
              <a:gd name="connsiteY10" fmla="*/ 685631 h 1825640"/>
              <a:gd name="connsiteX11" fmla="*/ 4954073 w 4954073"/>
              <a:gd name="connsiteY11" fmla="*/ 1103496 h 1825640"/>
              <a:gd name="connsiteX12" fmla="*/ 4954073 w 4954073"/>
              <a:gd name="connsiteY12" fmla="*/ 1521361 h 1825640"/>
              <a:gd name="connsiteX13" fmla="*/ 4649794 w 4954073"/>
              <a:gd name="connsiteY13" fmla="*/ 1825640 h 1825640"/>
              <a:gd name="connsiteX14" fmla="*/ 4150060 w 4954073"/>
              <a:gd name="connsiteY14" fmla="*/ 1825640 h 1825640"/>
              <a:gd name="connsiteX15" fmla="*/ 3693781 w 4954073"/>
              <a:gd name="connsiteY15" fmla="*/ 1825640 h 1825640"/>
              <a:gd name="connsiteX16" fmla="*/ 3194046 w 4954073"/>
              <a:gd name="connsiteY16" fmla="*/ 1825640 h 1825640"/>
              <a:gd name="connsiteX17" fmla="*/ 2563947 w 4954073"/>
              <a:gd name="connsiteY17" fmla="*/ 1825640 h 1825640"/>
              <a:gd name="connsiteX18" fmla="*/ 2151123 w 4954073"/>
              <a:gd name="connsiteY18" fmla="*/ 1825640 h 1825640"/>
              <a:gd name="connsiteX19" fmla="*/ 1738299 w 4954073"/>
              <a:gd name="connsiteY19" fmla="*/ 1825640 h 1825640"/>
              <a:gd name="connsiteX20" fmla="*/ 1151654 w 4954073"/>
              <a:gd name="connsiteY20" fmla="*/ 1825640 h 1825640"/>
              <a:gd name="connsiteX21" fmla="*/ 304279 w 4954073"/>
              <a:gd name="connsiteY21" fmla="*/ 1825640 h 1825640"/>
              <a:gd name="connsiteX22" fmla="*/ 0 w 4954073"/>
              <a:gd name="connsiteY22" fmla="*/ 1521361 h 1825640"/>
              <a:gd name="connsiteX23" fmla="*/ 0 w 4954073"/>
              <a:gd name="connsiteY23" fmla="*/ 1140009 h 1825640"/>
              <a:gd name="connsiteX24" fmla="*/ 0 w 4954073"/>
              <a:gd name="connsiteY24" fmla="*/ 709973 h 1825640"/>
              <a:gd name="connsiteX25" fmla="*/ 0 w 4954073"/>
              <a:gd name="connsiteY25" fmla="*/ 304279 h 1825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954073" h="1825640" extrusionOk="0">
                <a:moveTo>
                  <a:pt x="0" y="304279"/>
                </a:moveTo>
                <a:cubicBezTo>
                  <a:pt x="2022" y="129586"/>
                  <a:pt x="123135" y="31514"/>
                  <a:pt x="304279" y="0"/>
                </a:cubicBezTo>
                <a:cubicBezTo>
                  <a:pt x="579935" y="-42639"/>
                  <a:pt x="663502" y="58010"/>
                  <a:pt x="934379" y="0"/>
                </a:cubicBezTo>
                <a:cubicBezTo>
                  <a:pt x="1205256" y="-58010"/>
                  <a:pt x="1277498" y="59554"/>
                  <a:pt x="1564478" y="0"/>
                </a:cubicBezTo>
                <a:cubicBezTo>
                  <a:pt x="1851458" y="-59554"/>
                  <a:pt x="2059171" y="43403"/>
                  <a:pt x="2194578" y="0"/>
                </a:cubicBezTo>
                <a:cubicBezTo>
                  <a:pt x="2329985" y="-43403"/>
                  <a:pt x="2541824" y="27221"/>
                  <a:pt x="2650857" y="0"/>
                </a:cubicBezTo>
                <a:cubicBezTo>
                  <a:pt x="2759890" y="-27221"/>
                  <a:pt x="3069606" y="23209"/>
                  <a:pt x="3237502" y="0"/>
                </a:cubicBezTo>
                <a:cubicBezTo>
                  <a:pt x="3405398" y="-23209"/>
                  <a:pt x="3636396" y="48619"/>
                  <a:pt x="3780691" y="0"/>
                </a:cubicBezTo>
                <a:cubicBezTo>
                  <a:pt x="3924986" y="-48619"/>
                  <a:pt x="4345478" y="30458"/>
                  <a:pt x="4649794" y="0"/>
                </a:cubicBezTo>
                <a:cubicBezTo>
                  <a:pt x="4786643" y="5750"/>
                  <a:pt x="4975359" y="144105"/>
                  <a:pt x="4954073" y="304279"/>
                </a:cubicBezTo>
                <a:cubicBezTo>
                  <a:pt x="4994566" y="434583"/>
                  <a:pt x="4929538" y="543767"/>
                  <a:pt x="4954073" y="685631"/>
                </a:cubicBezTo>
                <a:cubicBezTo>
                  <a:pt x="4978608" y="827495"/>
                  <a:pt x="4939786" y="965018"/>
                  <a:pt x="4954073" y="1103496"/>
                </a:cubicBezTo>
                <a:cubicBezTo>
                  <a:pt x="4968360" y="1241975"/>
                  <a:pt x="4904769" y="1427033"/>
                  <a:pt x="4954073" y="1521361"/>
                </a:cubicBezTo>
                <a:cubicBezTo>
                  <a:pt x="4941277" y="1652770"/>
                  <a:pt x="4778848" y="1845113"/>
                  <a:pt x="4649794" y="1825640"/>
                </a:cubicBezTo>
                <a:cubicBezTo>
                  <a:pt x="4414190" y="1860588"/>
                  <a:pt x="4279372" y="1768174"/>
                  <a:pt x="4150060" y="1825640"/>
                </a:cubicBezTo>
                <a:cubicBezTo>
                  <a:pt x="4020748" y="1883106"/>
                  <a:pt x="3855006" y="1818842"/>
                  <a:pt x="3693781" y="1825640"/>
                </a:cubicBezTo>
                <a:cubicBezTo>
                  <a:pt x="3532556" y="1832438"/>
                  <a:pt x="3334454" y="1776841"/>
                  <a:pt x="3194046" y="1825640"/>
                </a:cubicBezTo>
                <a:cubicBezTo>
                  <a:pt x="3053639" y="1874439"/>
                  <a:pt x="2859351" y="1819513"/>
                  <a:pt x="2563947" y="1825640"/>
                </a:cubicBezTo>
                <a:cubicBezTo>
                  <a:pt x="2268543" y="1831767"/>
                  <a:pt x="2316039" y="1796064"/>
                  <a:pt x="2151123" y="1825640"/>
                </a:cubicBezTo>
                <a:cubicBezTo>
                  <a:pt x="1986207" y="1855216"/>
                  <a:pt x="1899930" y="1823465"/>
                  <a:pt x="1738299" y="1825640"/>
                </a:cubicBezTo>
                <a:cubicBezTo>
                  <a:pt x="1576668" y="1827815"/>
                  <a:pt x="1278075" y="1809689"/>
                  <a:pt x="1151654" y="1825640"/>
                </a:cubicBezTo>
                <a:cubicBezTo>
                  <a:pt x="1025233" y="1841591"/>
                  <a:pt x="572169" y="1792215"/>
                  <a:pt x="304279" y="1825640"/>
                </a:cubicBezTo>
                <a:cubicBezTo>
                  <a:pt x="139216" y="1840680"/>
                  <a:pt x="-22858" y="1681886"/>
                  <a:pt x="0" y="1521361"/>
                </a:cubicBezTo>
                <a:cubicBezTo>
                  <a:pt x="-15961" y="1441905"/>
                  <a:pt x="31541" y="1288644"/>
                  <a:pt x="0" y="1140009"/>
                </a:cubicBezTo>
                <a:cubicBezTo>
                  <a:pt x="-31541" y="991374"/>
                  <a:pt x="15689" y="911870"/>
                  <a:pt x="0" y="709973"/>
                </a:cubicBezTo>
                <a:cubicBezTo>
                  <a:pt x="-15689" y="508076"/>
                  <a:pt x="26443" y="469318"/>
                  <a:pt x="0" y="304279"/>
                </a:cubicBezTo>
                <a:close/>
              </a:path>
            </a:pathLst>
          </a:custGeom>
          <a:noFill/>
          <a:ln w="38100">
            <a:solidFill>
              <a:schemeClr val="bg1">
                <a:lumMod val="50000"/>
              </a:schemeClr>
            </a:solidFill>
            <a:extLst>
              <a:ext uri="{C807C97D-BFC1-408E-A445-0C87EB9F89A2}">
                <ask:lineSketchStyleProps xmlns:ask="http://schemas.microsoft.com/office/drawing/2018/sketchyshapes" sd="2259566060">
                  <a:prstGeom prst="roundRect">
                    <a:avLst/>
                  </a:prstGeom>
                  <ask:type>
                    <ask:lineSketchScribbl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600" dirty="0">
                <a:solidFill>
                  <a:schemeClr val="bg1">
                    <a:lumMod val="65000"/>
                  </a:schemeClr>
                </a:solidFill>
                <a:latin typeface="Biome Light" panose="020B0303030204020804" pitchFamily="34" charset="0"/>
                <a:cs typeface="Biome Light" panose="020B0303030204020804" pitchFamily="34" charset="0"/>
              </a:rPr>
              <a:t>GJORT</a:t>
            </a:r>
            <a:endParaRPr lang="da-DK" dirty="0">
              <a:solidFill>
                <a:schemeClr val="bg1">
                  <a:lumMod val="65000"/>
                </a:schemeClr>
              </a:solidFill>
              <a:latin typeface="Biome Light" panose="020B0303030204020804" pitchFamily="34" charset="0"/>
              <a:cs typeface="Biome Light" panose="020B0303030204020804" pitchFamily="34" charset="0"/>
            </a:endParaRPr>
          </a:p>
        </p:txBody>
      </p:sp>
      <p:sp>
        <p:nvSpPr>
          <p:cNvPr id="12" name="Rectangle: Rounded Corners 11">
            <a:extLst>
              <a:ext uri="{FF2B5EF4-FFF2-40B4-BE49-F238E27FC236}">
                <a16:creationId xmlns:a16="http://schemas.microsoft.com/office/drawing/2014/main" id="{D33F321F-17EC-08A0-0203-858788422164}"/>
              </a:ext>
            </a:extLst>
          </p:cNvPr>
          <p:cNvSpPr/>
          <p:nvPr/>
        </p:nvSpPr>
        <p:spPr>
          <a:xfrm>
            <a:off x="6613495" y="1391641"/>
            <a:ext cx="5277923" cy="4940471"/>
          </a:xfrm>
          <a:prstGeom prst="roundRect">
            <a:avLst/>
          </a:prstGeom>
          <a:noFill/>
          <a:ln w="38100">
            <a:solidFill>
              <a:schemeClr val="bg1">
                <a:lumMod val="50000"/>
              </a:schemeClr>
            </a:solidFill>
            <a:extLst>
              <a:ext uri="{C807C97D-BFC1-408E-A445-0C87EB9F89A2}">
                <ask:lineSketchStyleProps xmlns:ask="http://schemas.microsoft.com/office/drawing/2018/sketchyshapes" sd="2259566060">
                  <a:custGeom>
                    <a:avLst/>
                    <a:gdLst>
                      <a:gd name="connsiteX0" fmla="*/ 0 w 5036605"/>
                      <a:gd name="connsiteY0" fmla="*/ 765978 h 4595775"/>
                      <a:gd name="connsiteX1" fmla="*/ 765978 w 5036605"/>
                      <a:gd name="connsiteY1" fmla="*/ 0 h 4595775"/>
                      <a:gd name="connsiteX2" fmla="*/ 1420179 w 5036605"/>
                      <a:gd name="connsiteY2" fmla="*/ 0 h 4595775"/>
                      <a:gd name="connsiteX3" fmla="*/ 2074380 w 5036605"/>
                      <a:gd name="connsiteY3" fmla="*/ 0 h 4595775"/>
                      <a:gd name="connsiteX4" fmla="*/ 2728581 w 5036605"/>
                      <a:gd name="connsiteY4" fmla="*/ 0 h 4595775"/>
                      <a:gd name="connsiteX5" fmla="*/ 3242597 w 5036605"/>
                      <a:gd name="connsiteY5" fmla="*/ 0 h 4595775"/>
                      <a:gd name="connsiteX6" fmla="*/ 4270627 w 5036605"/>
                      <a:gd name="connsiteY6" fmla="*/ 0 h 4595775"/>
                      <a:gd name="connsiteX7" fmla="*/ 5036605 w 5036605"/>
                      <a:gd name="connsiteY7" fmla="*/ 765978 h 4595775"/>
                      <a:gd name="connsiteX8" fmla="*/ 5036605 w 5036605"/>
                      <a:gd name="connsiteY8" fmla="*/ 1184700 h 4595775"/>
                      <a:gd name="connsiteX9" fmla="*/ 5036605 w 5036605"/>
                      <a:gd name="connsiteY9" fmla="*/ 1695336 h 4595775"/>
                      <a:gd name="connsiteX10" fmla="*/ 5036605 w 5036605"/>
                      <a:gd name="connsiteY10" fmla="*/ 2236611 h 4595775"/>
                      <a:gd name="connsiteX11" fmla="*/ 5036605 w 5036605"/>
                      <a:gd name="connsiteY11" fmla="*/ 2777886 h 4595775"/>
                      <a:gd name="connsiteX12" fmla="*/ 5036605 w 5036605"/>
                      <a:gd name="connsiteY12" fmla="*/ 3196608 h 4595775"/>
                      <a:gd name="connsiteX13" fmla="*/ 5036605 w 5036605"/>
                      <a:gd name="connsiteY13" fmla="*/ 3829797 h 4595775"/>
                      <a:gd name="connsiteX14" fmla="*/ 4270627 w 5036605"/>
                      <a:gd name="connsiteY14" fmla="*/ 4595775 h 4595775"/>
                      <a:gd name="connsiteX15" fmla="*/ 3721565 w 5036605"/>
                      <a:gd name="connsiteY15" fmla="*/ 4595775 h 4595775"/>
                      <a:gd name="connsiteX16" fmla="*/ 3172504 w 5036605"/>
                      <a:gd name="connsiteY16" fmla="*/ 4595775 h 4595775"/>
                      <a:gd name="connsiteX17" fmla="*/ 2518303 w 5036605"/>
                      <a:gd name="connsiteY17" fmla="*/ 4595775 h 4595775"/>
                      <a:gd name="connsiteX18" fmla="*/ 2039334 w 5036605"/>
                      <a:gd name="connsiteY18" fmla="*/ 4595775 h 4595775"/>
                      <a:gd name="connsiteX19" fmla="*/ 1560365 w 5036605"/>
                      <a:gd name="connsiteY19" fmla="*/ 4595775 h 4595775"/>
                      <a:gd name="connsiteX20" fmla="*/ 765978 w 5036605"/>
                      <a:gd name="connsiteY20" fmla="*/ 4595775 h 4595775"/>
                      <a:gd name="connsiteX21" fmla="*/ 0 w 5036605"/>
                      <a:gd name="connsiteY21" fmla="*/ 3829797 h 4595775"/>
                      <a:gd name="connsiteX22" fmla="*/ 0 w 5036605"/>
                      <a:gd name="connsiteY22" fmla="*/ 3257884 h 4595775"/>
                      <a:gd name="connsiteX23" fmla="*/ 0 w 5036605"/>
                      <a:gd name="connsiteY23" fmla="*/ 2777886 h 4595775"/>
                      <a:gd name="connsiteX24" fmla="*/ 0 w 5036605"/>
                      <a:gd name="connsiteY24" fmla="*/ 2205973 h 4595775"/>
                      <a:gd name="connsiteX25" fmla="*/ 0 w 5036605"/>
                      <a:gd name="connsiteY25" fmla="*/ 1756613 h 4595775"/>
                      <a:gd name="connsiteX26" fmla="*/ 0 w 5036605"/>
                      <a:gd name="connsiteY26" fmla="*/ 1215338 h 4595775"/>
                      <a:gd name="connsiteX27" fmla="*/ 0 w 5036605"/>
                      <a:gd name="connsiteY27" fmla="*/ 765978 h 459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036605" h="4595775" extrusionOk="0">
                        <a:moveTo>
                          <a:pt x="0" y="765978"/>
                        </a:moveTo>
                        <a:cubicBezTo>
                          <a:pt x="18378" y="282563"/>
                          <a:pt x="315359" y="66377"/>
                          <a:pt x="765978" y="0"/>
                        </a:cubicBezTo>
                        <a:cubicBezTo>
                          <a:pt x="998586" y="-1290"/>
                          <a:pt x="1213847" y="21348"/>
                          <a:pt x="1420179" y="0"/>
                        </a:cubicBezTo>
                        <a:cubicBezTo>
                          <a:pt x="1626511" y="-21348"/>
                          <a:pt x="1842766" y="2984"/>
                          <a:pt x="2074380" y="0"/>
                        </a:cubicBezTo>
                        <a:cubicBezTo>
                          <a:pt x="2305994" y="-2984"/>
                          <a:pt x="2566782" y="19171"/>
                          <a:pt x="2728581" y="0"/>
                        </a:cubicBezTo>
                        <a:cubicBezTo>
                          <a:pt x="2890380" y="-19171"/>
                          <a:pt x="3114567" y="47949"/>
                          <a:pt x="3242597" y="0"/>
                        </a:cubicBezTo>
                        <a:cubicBezTo>
                          <a:pt x="3370627" y="-47949"/>
                          <a:pt x="3913266" y="49099"/>
                          <a:pt x="4270627" y="0"/>
                        </a:cubicBezTo>
                        <a:cubicBezTo>
                          <a:pt x="4738288" y="-27185"/>
                          <a:pt x="5041966" y="453063"/>
                          <a:pt x="5036605" y="765978"/>
                        </a:cubicBezTo>
                        <a:cubicBezTo>
                          <a:pt x="5044545" y="862293"/>
                          <a:pt x="4989712" y="988089"/>
                          <a:pt x="5036605" y="1184700"/>
                        </a:cubicBezTo>
                        <a:cubicBezTo>
                          <a:pt x="5083498" y="1381311"/>
                          <a:pt x="4983034" y="1550919"/>
                          <a:pt x="5036605" y="1695336"/>
                        </a:cubicBezTo>
                        <a:cubicBezTo>
                          <a:pt x="5090176" y="1839753"/>
                          <a:pt x="5011611" y="2023774"/>
                          <a:pt x="5036605" y="2236611"/>
                        </a:cubicBezTo>
                        <a:cubicBezTo>
                          <a:pt x="5061599" y="2449448"/>
                          <a:pt x="4996753" y="2636560"/>
                          <a:pt x="5036605" y="2777886"/>
                        </a:cubicBezTo>
                        <a:cubicBezTo>
                          <a:pt x="5076457" y="2919213"/>
                          <a:pt x="4994001" y="3026589"/>
                          <a:pt x="5036605" y="3196608"/>
                        </a:cubicBezTo>
                        <a:cubicBezTo>
                          <a:pt x="5079209" y="3366627"/>
                          <a:pt x="5017200" y="3637228"/>
                          <a:pt x="5036605" y="3829797"/>
                        </a:cubicBezTo>
                        <a:cubicBezTo>
                          <a:pt x="5020793" y="4250884"/>
                          <a:pt x="4699429" y="4634200"/>
                          <a:pt x="4270627" y="4595775"/>
                        </a:cubicBezTo>
                        <a:cubicBezTo>
                          <a:pt x="4067439" y="4661066"/>
                          <a:pt x="3969530" y="4551764"/>
                          <a:pt x="3721565" y="4595775"/>
                        </a:cubicBezTo>
                        <a:cubicBezTo>
                          <a:pt x="3473600" y="4639786"/>
                          <a:pt x="3397599" y="4542108"/>
                          <a:pt x="3172504" y="4595775"/>
                        </a:cubicBezTo>
                        <a:cubicBezTo>
                          <a:pt x="2947409" y="4649442"/>
                          <a:pt x="2839056" y="4520149"/>
                          <a:pt x="2518303" y="4595775"/>
                        </a:cubicBezTo>
                        <a:cubicBezTo>
                          <a:pt x="2197550" y="4671401"/>
                          <a:pt x="2178959" y="4566158"/>
                          <a:pt x="2039334" y="4595775"/>
                        </a:cubicBezTo>
                        <a:cubicBezTo>
                          <a:pt x="1899709" y="4625392"/>
                          <a:pt x="1756578" y="4561526"/>
                          <a:pt x="1560365" y="4595775"/>
                        </a:cubicBezTo>
                        <a:cubicBezTo>
                          <a:pt x="1364152" y="4630024"/>
                          <a:pt x="1156062" y="4589983"/>
                          <a:pt x="765978" y="4595775"/>
                        </a:cubicBezTo>
                        <a:cubicBezTo>
                          <a:pt x="350211" y="4603486"/>
                          <a:pt x="-6306" y="4214667"/>
                          <a:pt x="0" y="3829797"/>
                        </a:cubicBezTo>
                        <a:cubicBezTo>
                          <a:pt x="-20812" y="3684757"/>
                          <a:pt x="11543" y="3531857"/>
                          <a:pt x="0" y="3257884"/>
                        </a:cubicBezTo>
                        <a:cubicBezTo>
                          <a:pt x="-11543" y="2983911"/>
                          <a:pt x="5134" y="2939833"/>
                          <a:pt x="0" y="2777886"/>
                        </a:cubicBezTo>
                        <a:cubicBezTo>
                          <a:pt x="-5134" y="2615939"/>
                          <a:pt x="18126" y="2470037"/>
                          <a:pt x="0" y="2205973"/>
                        </a:cubicBezTo>
                        <a:cubicBezTo>
                          <a:pt x="-18126" y="1941909"/>
                          <a:pt x="49589" y="1954323"/>
                          <a:pt x="0" y="1756613"/>
                        </a:cubicBezTo>
                        <a:cubicBezTo>
                          <a:pt x="-49589" y="1558903"/>
                          <a:pt x="7733" y="1386940"/>
                          <a:pt x="0" y="1215338"/>
                        </a:cubicBezTo>
                        <a:cubicBezTo>
                          <a:pt x="-7733" y="1043736"/>
                          <a:pt x="18664" y="935522"/>
                          <a:pt x="0" y="765978"/>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tIns="0" rtlCol="0" anchor="t" anchorCtr="0"/>
          <a:lstStyle/>
          <a:p>
            <a:pPr algn="ctr"/>
            <a:endParaRPr lang="da-DK" sz="1050" dirty="0">
              <a:solidFill>
                <a:schemeClr val="bg1">
                  <a:lumMod val="65000"/>
                </a:schemeClr>
              </a:solidFill>
              <a:latin typeface="Biome Light" panose="020B0303030204020804" pitchFamily="34" charset="0"/>
              <a:cs typeface="Biome Light" panose="020B0303030204020804" pitchFamily="34" charset="0"/>
            </a:endParaRPr>
          </a:p>
        </p:txBody>
      </p:sp>
      <p:sp>
        <p:nvSpPr>
          <p:cNvPr id="14" name="Rectangle: Rounded Corners 13">
            <a:extLst>
              <a:ext uri="{FF2B5EF4-FFF2-40B4-BE49-F238E27FC236}">
                <a16:creationId xmlns:a16="http://schemas.microsoft.com/office/drawing/2014/main" id="{586D12F0-3256-78DA-DB9D-E973211289F7}"/>
              </a:ext>
            </a:extLst>
          </p:cNvPr>
          <p:cNvSpPr/>
          <p:nvPr/>
        </p:nvSpPr>
        <p:spPr>
          <a:xfrm>
            <a:off x="6763071" y="1085219"/>
            <a:ext cx="4954073" cy="1825640"/>
          </a:xfrm>
          <a:custGeom>
            <a:avLst/>
            <a:gdLst>
              <a:gd name="connsiteX0" fmla="*/ 0 w 4954073"/>
              <a:gd name="connsiteY0" fmla="*/ 304279 h 1825640"/>
              <a:gd name="connsiteX1" fmla="*/ 304279 w 4954073"/>
              <a:gd name="connsiteY1" fmla="*/ 0 h 1825640"/>
              <a:gd name="connsiteX2" fmla="*/ 934379 w 4954073"/>
              <a:gd name="connsiteY2" fmla="*/ 0 h 1825640"/>
              <a:gd name="connsiteX3" fmla="*/ 1564478 w 4954073"/>
              <a:gd name="connsiteY3" fmla="*/ 0 h 1825640"/>
              <a:gd name="connsiteX4" fmla="*/ 2194578 w 4954073"/>
              <a:gd name="connsiteY4" fmla="*/ 0 h 1825640"/>
              <a:gd name="connsiteX5" fmla="*/ 2650857 w 4954073"/>
              <a:gd name="connsiteY5" fmla="*/ 0 h 1825640"/>
              <a:gd name="connsiteX6" fmla="*/ 3237502 w 4954073"/>
              <a:gd name="connsiteY6" fmla="*/ 0 h 1825640"/>
              <a:gd name="connsiteX7" fmla="*/ 3780691 w 4954073"/>
              <a:gd name="connsiteY7" fmla="*/ 0 h 1825640"/>
              <a:gd name="connsiteX8" fmla="*/ 4649794 w 4954073"/>
              <a:gd name="connsiteY8" fmla="*/ 0 h 1825640"/>
              <a:gd name="connsiteX9" fmla="*/ 4954073 w 4954073"/>
              <a:gd name="connsiteY9" fmla="*/ 304279 h 1825640"/>
              <a:gd name="connsiteX10" fmla="*/ 4954073 w 4954073"/>
              <a:gd name="connsiteY10" fmla="*/ 685631 h 1825640"/>
              <a:gd name="connsiteX11" fmla="*/ 4954073 w 4954073"/>
              <a:gd name="connsiteY11" fmla="*/ 1103496 h 1825640"/>
              <a:gd name="connsiteX12" fmla="*/ 4954073 w 4954073"/>
              <a:gd name="connsiteY12" fmla="*/ 1521361 h 1825640"/>
              <a:gd name="connsiteX13" fmla="*/ 4649794 w 4954073"/>
              <a:gd name="connsiteY13" fmla="*/ 1825640 h 1825640"/>
              <a:gd name="connsiteX14" fmla="*/ 4150060 w 4954073"/>
              <a:gd name="connsiteY14" fmla="*/ 1825640 h 1825640"/>
              <a:gd name="connsiteX15" fmla="*/ 3693781 w 4954073"/>
              <a:gd name="connsiteY15" fmla="*/ 1825640 h 1825640"/>
              <a:gd name="connsiteX16" fmla="*/ 3194046 w 4954073"/>
              <a:gd name="connsiteY16" fmla="*/ 1825640 h 1825640"/>
              <a:gd name="connsiteX17" fmla="*/ 2563947 w 4954073"/>
              <a:gd name="connsiteY17" fmla="*/ 1825640 h 1825640"/>
              <a:gd name="connsiteX18" fmla="*/ 2151123 w 4954073"/>
              <a:gd name="connsiteY18" fmla="*/ 1825640 h 1825640"/>
              <a:gd name="connsiteX19" fmla="*/ 1738299 w 4954073"/>
              <a:gd name="connsiteY19" fmla="*/ 1825640 h 1825640"/>
              <a:gd name="connsiteX20" fmla="*/ 1151654 w 4954073"/>
              <a:gd name="connsiteY20" fmla="*/ 1825640 h 1825640"/>
              <a:gd name="connsiteX21" fmla="*/ 304279 w 4954073"/>
              <a:gd name="connsiteY21" fmla="*/ 1825640 h 1825640"/>
              <a:gd name="connsiteX22" fmla="*/ 0 w 4954073"/>
              <a:gd name="connsiteY22" fmla="*/ 1521361 h 1825640"/>
              <a:gd name="connsiteX23" fmla="*/ 0 w 4954073"/>
              <a:gd name="connsiteY23" fmla="*/ 1140009 h 1825640"/>
              <a:gd name="connsiteX24" fmla="*/ 0 w 4954073"/>
              <a:gd name="connsiteY24" fmla="*/ 709973 h 1825640"/>
              <a:gd name="connsiteX25" fmla="*/ 0 w 4954073"/>
              <a:gd name="connsiteY25" fmla="*/ 304279 h 1825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954073" h="1825640" extrusionOk="0">
                <a:moveTo>
                  <a:pt x="0" y="304279"/>
                </a:moveTo>
                <a:cubicBezTo>
                  <a:pt x="2022" y="129586"/>
                  <a:pt x="123135" y="31514"/>
                  <a:pt x="304279" y="0"/>
                </a:cubicBezTo>
                <a:cubicBezTo>
                  <a:pt x="579935" y="-42639"/>
                  <a:pt x="663502" y="58010"/>
                  <a:pt x="934379" y="0"/>
                </a:cubicBezTo>
                <a:cubicBezTo>
                  <a:pt x="1205256" y="-58010"/>
                  <a:pt x="1277498" y="59554"/>
                  <a:pt x="1564478" y="0"/>
                </a:cubicBezTo>
                <a:cubicBezTo>
                  <a:pt x="1851458" y="-59554"/>
                  <a:pt x="2059171" y="43403"/>
                  <a:pt x="2194578" y="0"/>
                </a:cubicBezTo>
                <a:cubicBezTo>
                  <a:pt x="2329985" y="-43403"/>
                  <a:pt x="2541824" y="27221"/>
                  <a:pt x="2650857" y="0"/>
                </a:cubicBezTo>
                <a:cubicBezTo>
                  <a:pt x="2759890" y="-27221"/>
                  <a:pt x="3069606" y="23209"/>
                  <a:pt x="3237502" y="0"/>
                </a:cubicBezTo>
                <a:cubicBezTo>
                  <a:pt x="3405398" y="-23209"/>
                  <a:pt x="3636396" y="48619"/>
                  <a:pt x="3780691" y="0"/>
                </a:cubicBezTo>
                <a:cubicBezTo>
                  <a:pt x="3924986" y="-48619"/>
                  <a:pt x="4345478" y="30458"/>
                  <a:pt x="4649794" y="0"/>
                </a:cubicBezTo>
                <a:cubicBezTo>
                  <a:pt x="4786643" y="5750"/>
                  <a:pt x="4975359" y="144105"/>
                  <a:pt x="4954073" y="304279"/>
                </a:cubicBezTo>
                <a:cubicBezTo>
                  <a:pt x="4994566" y="434583"/>
                  <a:pt x="4929538" y="543767"/>
                  <a:pt x="4954073" y="685631"/>
                </a:cubicBezTo>
                <a:cubicBezTo>
                  <a:pt x="4978608" y="827495"/>
                  <a:pt x="4939786" y="965018"/>
                  <a:pt x="4954073" y="1103496"/>
                </a:cubicBezTo>
                <a:cubicBezTo>
                  <a:pt x="4968360" y="1241975"/>
                  <a:pt x="4904769" y="1427033"/>
                  <a:pt x="4954073" y="1521361"/>
                </a:cubicBezTo>
                <a:cubicBezTo>
                  <a:pt x="4941277" y="1652770"/>
                  <a:pt x="4778848" y="1845113"/>
                  <a:pt x="4649794" y="1825640"/>
                </a:cubicBezTo>
                <a:cubicBezTo>
                  <a:pt x="4414190" y="1860588"/>
                  <a:pt x="4279372" y="1768174"/>
                  <a:pt x="4150060" y="1825640"/>
                </a:cubicBezTo>
                <a:cubicBezTo>
                  <a:pt x="4020748" y="1883106"/>
                  <a:pt x="3855006" y="1818842"/>
                  <a:pt x="3693781" y="1825640"/>
                </a:cubicBezTo>
                <a:cubicBezTo>
                  <a:pt x="3532556" y="1832438"/>
                  <a:pt x="3334454" y="1776841"/>
                  <a:pt x="3194046" y="1825640"/>
                </a:cubicBezTo>
                <a:cubicBezTo>
                  <a:pt x="3053639" y="1874439"/>
                  <a:pt x="2859351" y="1819513"/>
                  <a:pt x="2563947" y="1825640"/>
                </a:cubicBezTo>
                <a:cubicBezTo>
                  <a:pt x="2268543" y="1831767"/>
                  <a:pt x="2316039" y="1796064"/>
                  <a:pt x="2151123" y="1825640"/>
                </a:cubicBezTo>
                <a:cubicBezTo>
                  <a:pt x="1986207" y="1855216"/>
                  <a:pt x="1899930" y="1823465"/>
                  <a:pt x="1738299" y="1825640"/>
                </a:cubicBezTo>
                <a:cubicBezTo>
                  <a:pt x="1576668" y="1827815"/>
                  <a:pt x="1278075" y="1809689"/>
                  <a:pt x="1151654" y="1825640"/>
                </a:cubicBezTo>
                <a:cubicBezTo>
                  <a:pt x="1025233" y="1841591"/>
                  <a:pt x="572169" y="1792215"/>
                  <a:pt x="304279" y="1825640"/>
                </a:cubicBezTo>
                <a:cubicBezTo>
                  <a:pt x="139216" y="1840680"/>
                  <a:pt x="-22858" y="1681886"/>
                  <a:pt x="0" y="1521361"/>
                </a:cubicBezTo>
                <a:cubicBezTo>
                  <a:pt x="-15961" y="1441905"/>
                  <a:pt x="31541" y="1288644"/>
                  <a:pt x="0" y="1140009"/>
                </a:cubicBezTo>
                <a:cubicBezTo>
                  <a:pt x="-31541" y="991374"/>
                  <a:pt x="15689" y="911870"/>
                  <a:pt x="0" y="709973"/>
                </a:cubicBezTo>
                <a:cubicBezTo>
                  <a:pt x="-15689" y="508076"/>
                  <a:pt x="26443" y="469318"/>
                  <a:pt x="0" y="304279"/>
                </a:cubicBezTo>
                <a:close/>
              </a:path>
            </a:pathLst>
          </a:custGeom>
          <a:noFill/>
          <a:ln w="38100">
            <a:noFill/>
            <a:extLst>
              <a:ext uri="{C807C97D-BFC1-408E-A445-0C87EB9F89A2}">
                <ask:lineSketchStyleProps xmlns:ask="http://schemas.microsoft.com/office/drawing/2018/sketchyshapes" sd="2259566060">
                  <a:prstGeom prst="roundRect">
                    <a:avLst/>
                  </a:prstGeom>
                  <ask:type>
                    <ask:lineSketchScribbl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5400" dirty="0">
                <a:solidFill>
                  <a:schemeClr val="bg1">
                    <a:lumMod val="50000"/>
                  </a:schemeClr>
                </a:solidFill>
                <a:cs typeface="Biome Light" panose="020B0303030204020804" pitchFamily="34" charset="0"/>
              </a:rPr>
              <a:t>NYE TILTAG</a:t>
            </a:r>
            <a:endParaRPr lang="da-DK" sz="1000" dirty="0">
              <a:solidFill>
                <a:schemeClr val="bg1">
                  <a:lumMod val="50000"/>
                </a:schemeClr>
              </a:solidFill>
              <a:cs typeface="Biome Light" panose="020B0303030204020804" pitchFamily="34" charset="0"/>
            </a:endParaRPr>
          </a:p>
        </p:txBody>
      </p:sp>
    </p:spTree>
    <p:extLst>
      <p:ext uri="{BB962C8B-B14F-4D97-AF65-F5344CB8AC3E}">
        <p14:creationId xmlns:p14="http://schemas.microsoft.com/office/powerpoint/2010/main" val="261829215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357A653D-A26E-FE9B-2B43-A4CF451133C1}"/>
              </a:ext>
            </a:extLst>
          </p:cNvPr>
          <p:cNvSpPr>
            <a:spLocks noGrp="1"/>
          </p:cNvSpPr>
          <p:nvPr>
            <p:ph type="title"/>
          </p:nvPr>
        </p:nvSpPr>
        <p:spPr/>
        <p:txBody>
          <a:bodyPr/>
          <a:lstStyle/>
          <a:p>
            <a:r>
              <a:rPr lang="da-DK"/>
              <a:t>Udestående spørgsmål og eventuelt</a:t>
            </a:r>
          </a:p>
        </p:txBody>
      </p:sp>
      <p:sp>
        <p:nvSpPr>
          <p:cNvPr id="7" name="Footer Placeholder 6">
            <a:extLst>
              <a:ext uri="{FF2B5EF4-FFF2-40B4-BE49-F238E27FC236}">
                <a16:creationId xmlns:a16="http://schemas.microsoft.com/office/drawing/2014/main" id="{5D1E2CA9-AB08-213E-605A-1060A2378DA5}"/>
              </a:ext>
            </a:extLst>
          </p:cNvPr>
          <p:cNvSpPr>
            <a:spLocks noGrp="1"/>
          </p:cNvSpPr>
          <p:nvPr>
            <p:ph type="ftr" sz="quarter" idx="11"/>
          </p:nvPr>
        </p:nvSpPr>
        <p:spPr/>
        <p:txBody>
          <a:bodyPr/>
          <a:lstStyle/>
          <a:p>
            <a:r>
              <a:rPr lang="da-DK"/>
              <a:t>RØDE KORS / Introduktionskursus for nye kasserere / 2025</a:t>
            </a:r>
          </a:p>
        </p:txBody>
      </p:sp>
      <p:grpSp>
        <p:nvGrpSpPr>
          <p:cNvPr id="3" name="Group 1068">
            <a:extLst>
              <a:ext uri="{FF2B5EF4-FFF2-40B4-BE49-F238E27FC236}">
                <a16:creationId xmlns:a16="http://schemas.microsoft.com/office/drawing/2014/main" id="{E4B5E77B-68EE-7AD3-A366-33532BE9A059}"/>
              </a:ext>
            </a:extLst>
          </p:cNvPr>
          <p:cNvGrpSpPr/>
          <p:nvPr/>
        </p:nvGrpSpPr>
        <p:grpSpPr>
          <a:xfrm>
            <a:off x="3539825" y="1235075"/>
            <a:ext cx="5112346" cy="4899025"/>
            <a:chOff x="3438525" y="2338387"/>
            <a:chExt cx="2271331" cy="2176556"/>
          </a:xfrm>
        </p:grpSpPr>
        <p:grpSp>
          <p:nvGrpSpPr>
            <p:cNvPr id="4" name="Graphic 1046">
              <a:extLst>
                <a:ext uri="{FF2B5EF4-FFF2-40B4-BE49-F238E27FC236}">
                  <a16:creationId xmlns:a16="http://schemas.microsoft.com/office/drawing/2014/main" id="{4A643052-D699-5947-E9B4-82D56D9FA2FA}"/>
                </a:ext>
              </a:extLst>
            </p:cNvPr>
            <p:cNvGrpSpPr/>
            <p:nvPr/>
          </p:nvGrpSpPr>
          <p:grpSpPr>
            <a:xfrm>
              <a:off x="3438525" y="3495388"/>
              <a:ext cx="1057275" cy="1019555"/>
              <a:chOff x="3438525" y="3495388"/>
              <a:chExt cx="1057275" cy="1019555"/>
            </a:xfrm>
          </p:grpSpPr>
          <p:sp>
            <p:nvSpPr>
              <p:cNvPr id="22" name="Freeform: Shape 1049">
                <a:extLst>
                  <a:ext uri="{FF2B5EF4-FFF2-40B4-BE49-F238E27FC236}">
                    <a16:creationId xmlns:a16="http://schemas.microsoft.com/office/drawing/2014/main" id="{CC87DD74-36F1-47CF-A1D4-FD94F45B8DDC}"/>
                  </a:ext>
                </a:extLst>
              </p:cNvPr>
              <p:cNvSpPr/>
              <p:nvPr/>
            </p:nvSpPr>
            <p:spPr>
              <a:xfrm>
                <a:off x="3438525" y="3495388"/>
                <a:ext cx="1057275" cy="1019555"/>
              </a:xfrm>
              <a:custGeom>
                <a:avLst/>
                <a:gdLst>
                  <a:gd name="connsiteX0" fmla="*/ 141732 w 1057275"/>
                  <a:gd name="connsiteY0" fmla="*/ 806196 h 1019555"/>
                  <a:gd name="connsiteX1" fmla="*/ 173831 w 1057275"/>
                  <a:gd name="connsiteY1" fmla="*/ 1019556 h 1019555"/>
                  <a:gd name="connsiteX2" fmla="*/ 284226 w 1057275"/>
                  <a:gd name="connsiteY2" fmla="*/ 787432 h 1019555"/>
                  <a:gd name="connsiteX3" fmla="*/ 1044035 w 1057275"/>
                  <a:gd name="connsiteY3" fmla="*/ 687038 h 1019555"/>
                  <a:gd name="connsiteX4" fmla="*/ 1057275 w 1057275"/>
                  <a:gd name="connsiteY4" fmla="*/ 0 h 1019555"/>
                  <a:gd name="connsiteX5" fmla="*/ 0 w 1057275"/>
                  <a:gd name="connsiteY5" fmla="*/ 108395 h 1019555"/>
                  <a:gd name="connsiteX6" fmla="*/ 98584 w 1057275"/>
                  <a:gd name="connsiteY6" fmla="*/ 811911 h 1019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7275" h="1019555">
                    <a:moveTo>
                      <a:pt x="141732" y="806196"/>
                    </a:moveTo>
                    <a:lnTo>
                      <a:pt x="173831" y="1019556"/>
                    </a:lnTo>
                    <a:lnTo>
                      <a:pt x="284226" y="787432"/>
                    </a:lnTo>
                    <a:lnTo>
                      <a:pt x="1044035" y="687038"/>
                    </a:lnTo>
                    <a:lnTo>
                      <a:pt x="1057275" y="0"/>
                    </a:lnTo>
                    <a:lnTo>
                      <a:pt x="0" y="108395"/>
                    </a:lnTo>
                    <a:lnTo>
                      <a:pt x="98584" y="811911"/>
                    </a:lnTo>
                    <a:close/>
                  </a:path>
                </a:pathLst>
              </a:custGeom>
              <a:solidFill>
                <a:schemeClr val="accent1">
                  <a:lumMod val="75000"/>
                </a:schemeClr>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grpSp>
            <p:nvGrpSpPr>
              <p:cNvPr id="23" name="Graphic 1046">
                <a:extLst>
                  <a:ext uri="{FF2B5EF4-FFF2-40B4-BE49-F238E27FC236}">
                    <a16:creationId xmlns:a16="http://schemas.microsoft.com/office/drawing/2014/main" id="{5AE9C1D7-0CD4-6E3A-7912-91EAF2445823}"/>
                  </a:ext>
                </a:extLst>
              </p:cNvPr>
              <p:cNvGrpSpPr/>
              <p:nvPr/>
            </p:nvGrpSpPr>
            <p:grpSpPr>
              <a:xfrm>
                <a:off x="3759041" y="3610831"/>
                <a:ext cx="419327" cy="567975"/>
                <a:chOff x="3759041" y="3610831"/>
                <a:chExt cx="419327" cy="567975"/>
              </a:xfrm>
              <a:solidFill>
                <a:srgbClr val="FFFFFF"/>
              </a:solidFill>
            </p:grpSpPr>
            <p:sp>
              <p:nvSpPr>
                <p:cNvPr id="24" name="Freeform: Shape 1051">
                  <a:extLst>
                    <a:ext uri="{FF2B5EF4-FFF2-40B4-BE49-F238E27FC236}">
                      <a16:creationId xmlns:a16="http://schemas.microsoft.com/office/drawing/2014/main" id="{3BBBFBE1-2FB8-B8B1-6CD4-62D6CC4FB69D}"/>
                    </a:ext>
                  </a:extLst>
                </p:cNvPr>
                <p:cNvSpPr/>
                <p:nvPr/>
              </p:nvSpPr>
              <p:spPr>
                <a:xfrm>
                  <a:off x="3759041" y="3610831"/>
                  <a:ext cx="419327" cy="397954"/>
                </a:xfrm>
                <a:custGeom>
                  <a:avLst/>
                  <a:gdLst>
                    <a:gd name="connsiteX0" fmla="*/ 179356 w 419327"/>
                    <a:gd name="connsiteY0" fmla="*/ 325374 h 397954"/>
                    <a:gd name="connsiteX1" fmla="*/ 235458 w 419327"/>
                    <a:gd name="connsiteY1" fmla="*/ 264700 h 397954"/>
                    <a:gd name="connsiteX2" fmla="*/ 279940 w 419327"/>
                    <a:gd name="connsiteY2" fmla="*/ 216789 h 397954"/>
                    <a:gd name="connsiteX3" fmla="*/ 289846 w 419327"/>
                    <a:gd name="connsiteY3" fmla="*/ 168878 h 397954"/>
                    <a:gd name="connsiteX4" fmla="*/ 264128 w 419327"/>
                    <a:gd name="connsiteY4" fmla="*/ 126873 h 397954"/>
                    <a:gd name="connsiteX5" fmla="*/ 205835 w 419327"/>
                    <a:gd name="connsiteY5" fmla="*/ 111157 h 397954"/>
                    <a:gd name="connsiteX6" fmla="*/ 138970 w 419327"/>
                    <a:gd name="connsiteY6" fmla="*/ 127730 h 397954"/>
                    <a:gd name="connsiteX7" fmla="*/ 91345 w 419327"/>
                    <a:gd name="connsiteY7" fmla="*/ 175641 h 397954"/>
                    <a:gd name="connsiteX8" fmla="*/ 0 w 419327"/>
                    <a:gd name="connsiteY8" fmla="*/ 110300 h 397954"/>
                    <a:gd name="connsiteX9" fmla="*/ 84391 w 419327"/>
                    <a:gd name="connsiteY9" fmla="*/ 29242 h 397954"/>
                    <a:gd name="connsiteX10" fmla="*/ 215837 w 419327"/>
                    <a:gd name="connsiteY10" fmla="*/ 0 h 397954"/>
                    <a:gd name="connsiteX11" fmla="*/ 353759 w 419327"/>
                    <a:gd name="connsiteY11" fmla="*/ 38576 h 397954"/>
                    <a:gd name="connsiteX12" fmla="*/ 417386 w 419327"/>
                    <a:gd name="connsiteY12" fmla="*/ 142494 h 397954"/>
                    <a:gd name="connsiteX13" fmla="*/ 413004 w 419327"/>
                    <a:gd name="connsiteY13" fmla="*/ 211265 h 397954"/>
                    <a:gd name="connsiteX14" fmla="*/ 385858 w 419327"/>
                    <a:gd name="connsiteY14" fmla="*/ 259652 h 397954"/>
                    <a:gd name="connsiteX15" fmla="*/ 340423 w 419327"/>
                    <a:gd name="connsiteY15" fmla="*/ 303752 h 397954"/>
                    <a:gd name="connsiteX16" fmla="*/ 293846 w 419327"/>
                    <a:gd name="connsiteY16" fmla="*/ 350806 h 397954"/>
                    <a:gd name="connsiteX17" fmla="*/ 276320 w 419327"/>
                    <a:gd name="connsiteY17" fmla="*/ 397955 h 397954"/>
                    <a:gd name="connsiteX18" fmla="*/ 157829 w 419327"/>
                    <a:gd name="connsiteY18" fmla="*/ 397955 h 397954"/>
                    <a:gd name="connsiteX19" fmla="*/ 179356 w 419327"/>
                    <a:gd name="connsiteY19" fmla="*/ 325374 h 397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9327" h="397954">
                      <a:moveTo>
                        <a:pt x="179356" y="325374"/>
                      </a:moveTo>
                      <a:cubicBezTo>
                        <a:pt x="192500" y="306419"/>
                        <a:pt x="211169" y="286226"/>
                        <a:pt x="235458" y="264700"/>
                      </a:cubicBezTo>
                      <a:cubicBezTo>
                        <a:pt x="255937" y="246031"/>
                        <a:pt x="270796" y="230029"/>
                        <a:pt x="279940" y="216789"/>
                      </a:cubicBezTo>
                      <a:cubicBezTo>
                        <a:pt x="289084" y="203454"/>
                        <a:pt x="292417" y="187547"/>
                        <a:pt x="289846" y="168878"/>
                      </a:cubicBezTo>
                      <a:cubicBezTo>
                        <a:pt x="287465" y="151352"/>
                        <a:pt x="278892" y="137350"/>
                        <a:pt x="264128" y="126873"/>
                      </a:cubicBezTo>
                      <a:cubicBezTo>
                        <a:pt x="249365" y="116396"/>
                        <a:pt x="229934" y="111157"/>
                        <a:pt x="205835" y="111157"/>
                      </a:cubicBezTo>
                      <a:cubicBezTo>
                        <a:pt x="180689" y="111157"/>
                        <a:pt x="158401" y="116681"/>
                        <a:pt x="138970" y="127730"/>
                      </a:cubicBezTo>
                      <a:cubicBezTo>
                        <a:pt x="119539" y="138779"/>
                        <a:pt x="103632" y="154781"/>
                        <a:pt x="91345" y="175641"/>
                      </a:cubicBezTo>
                      <a:lnTo>
                        <a:pt x="0" y="110300"/>
                      </a:lnTo>
                      <a:cubicBezTo>
                        <a:pt x="18859" y="75819"/>
                        <a:pt x="46958" y="48768"/>
                        <a:pt x="84391" y="29242"/>
                      </a:cubicBezTo>
                      <a:cubicBezTo>
                        <a:pt x="121729" y="9716"/>
                        <a:pt x="165544" y="0"/>
                        <a:pt x="215837" y="0"/>
                      </a:cubicBezTo>
                      <a:cubicBezTo>
                        <a:pt x="271272" y="0"/>
                        <a:pt x="317278" y="12859"/>
                        <a:pt x="353759" y="38576"/>
                      </a:cubicBezTo>
                      <a:cubicBezTo>
                        <a:pt x="390239" y="64294"/>
                        <a:pt x="411480" y="98965"/>
                        <a:pt x="417386" y="142494"/>
                      </a:cubicBezTo>
                      <a:cubicBezTo>
                        <a:pt x="421005" y="169069"/>
                        <a:pt x="419576" y="192024"/>
                        <a:pt x="413004" y="211265"/>
                      </a:cubicBezTo>
                      <a:cubicBezTo>
                        <a:pt x="406432" y="230505"/>
                        <a:pt x="397383" y="246602"/>
                        <a:pt x="385858" y="259652"/>
                      </a:cubicBezTo>
                      <a:cubicBezTo>
                        <a:pt x="374237" y="272701"/>
                        <a:pt x="359092" y="287369"/>
                        <a:pt x="340423" y="303752"/>
                      </a:cubicBezTo>
                      <a:cubicBezTo>
                        <a:pt x="319850" y="321850"/>
                        <a:pt x="304324" y="337566"/>
                        <a:pt x="293846" y="350806"/>
                      </a:cubicBezTo>
                      <a:cubicBezTo>
                        <a:pt x="283369" y="364141"/>
                        <a:pt x="277463" y="379762"/>
                        <a:pt x="276320" y="397955"/>
                      </a:cubicBezTo>
                      <a:lnTo>
                        <a:pt x="157829" y="397955"/>
                      </a:lnTo>
                      <a:cubicBezTo>
                        <a:pt x="159067" y="368522"/>
                        <a:pt x="166211" y="344329"/>
                        <a:pt x="179356" y="325374"/>
                      </a:cubicBezTo>
                      <a:close/>
                    </a:path>
                  </a:pathLst>
                </a:custGeom>
                <a:solidFill>
                  <a:srgbClr val="FFFFFF"/>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25" name="Freeform: Shape 1052">
                  <a:extLst>
                    <a:ext uri="{FF2B5EF4-FFF2-40B4-BE49-F238E27FC236}">
                      <a16:creationId xmlns:a16="http://schemas.microsoft.com/office/drawing/2014/main" id="{1B56F94C-A6E1-F76E-107A-0E553A84D3DC}"/>
                    </a:ext>
                  </a:extLst>
                </p:cNvPr>
                <p:cNvSpPr/>
                <p:nvPr/>
              </p:nvSpPr>
              <p:spPr>
                <a:xfrm>
                  <a:off x="3909345" y="4046410"/>
                  <a:ext cx="132397" cy="132397"/>
                </a:xfrm>
                <a:custGeom>
                  <a:avLst/>
                  <a:gdLst>
                    <a:gd name="connsiteX0" fmla="*/ 132398 w 132397"/>
                    <a:gd name="connsiteY0" fmla="*/ 66199 h 132397"/>
                    <a:gd name="connsiteX1" fmla="*/ 66199 w 132397"/>
                    <a:gd name="connsiteY1" fmla="*/ 132398 h 132397"/>
                    <a:gd name="connsiteX2" fmla="*/ 0 w 132397"/>
                    <a:gd name="connsiteY2" fmla="*/ 66199 h 132397"/>
                    <a:gd name="connsiteX3" fmla="*/ 66199 w 132397"/>
                    <a:gd name="connsiteY3" fmla="*/ 0 h 132397"/>
                    <a:gd name="connsiteX4" fmla="*/ 132398 w 132397"/>
                    <a:gd name="connsiteY4" fmla="*/ 66199 h 132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397" h="132397">
                      <a:moveTo>
                        <a:pt x="132398" y="66199"/>
                      </a:moveTo>
                      <a:cubicBezTo>
                        <a:pt x="132398" y="102759"/>
                        <a:pt x="102759" y="132398"/>
                        <a:pt x="66199" y="132398"/>
                      </a:cubicBezTo>
                      <a:cubicBezTo>
                        <a:pt x="29638" y="132398"/>
                        <a:pt x="0" y="102759"/>
                        <a:pt x="0" y="66199"/>
                      </a:cubicBezTo>
                      <a:cubicBezTo>
                        <a:pt x="0" y="29638"/>
                        <a:pt x="29638" y="0"/>
                        <a:pt x="66199" y="0"/>
                      </a:cubicBezTo>
                      <a:cubicBezTo>
                        <a:pt x="102759" y="0"/>
                        <a:pt x="132398" y="29638"/>
                        <a:pt x="132398" y="66199"/>
                      </a:cubicBezTo>
                      <a:close/>
                    </a:path>
                  </a:pathLst>
                </a:custGeom>
                <a:solidFill>
                  <a:srgbClr val="FFFFFF"/>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grpSp>
        </p:grpSp>
        <p:grpSp>
          <p:nvGrpSpPr>
            <p:cNvPr id="5" name="Graphic 1046">
              <a:extLst>
                <a:ext uri="{FF2B5EF4-FFF2-40B4-BE49-F238E27FC236}">
                  <a16:creationId xmlns:a16="http://schemas.microsoft.com/office/drawing/2014/main" id="{FFC4B12F-DB4C-2826-B3CA-B5649102C960}"/>
                </a:ext>
              </a:extLst>
            </p:cNvPr>
            <p:cNvGrpSpPr/>
            <p:nvPr/>
          </p:nvGrpSpPr>
          <p:grpSpPr>
            <a:xfrm>
              <a:off x="4405652" y="3228774"/>
              <a:ext cx="1054850" cy="858402"/>
              <a:chOff x="4405652" y="3228774"/>
              <a:chExt cx="1054850" cy="858402"/>
            </a:xfrm>
          </p:grpSpPr>
          <p:sp>
            <p:nvSpPr>
              <p:cNvPr id="18" name="Freeform: Shape 1054">
                <a:extLst>
                  <a:ext uri="{FF2B5EF4-FFF2-40B4-BE49-F238E27FC236}">
                    <a16:creationId xmlns:a16="http://schemas.microsoft.com/office/drawing/2014/main" id="{12A4C92E-E6AC-E1C9-A990-A71DB01FB3D5}"/>
                  </a:ext>
                </a:extLst>
              </p:cNvPr>
              <p:cNvSpPr/>
              <p:nvPr/>
            </p:nvSpPr>
            <p:spPr>
              <a:xfrm>
                <a:off x="4405652" y="3228774"/>
                <a:ext cx="1054850" cy="858402"/>
              </a:xfrm>
              <a:custGeom>
                <a:avLst/>
                <a:gdLst>
                  <a:gd name="connsiteX0" fmla="*/ 182444 w 1054850"/>
                  <a:gd name="connsiteY0" fmla="*/ 707145 h 858402"/>
                  <a:gd name="connsiteX1" fmla="*/ 153869 w 1054850"/>
                  <a:gd name="connsiteY1" fmla="*/ 858402 h 858402"/>
                  <a:gd name="connsiteX2" fmla="*/ 325796 w 1054850"/>
                  <a:gd name="connsiteY2" fmla="*/ 774297 h 858402"/>
                  <a:gd name="connsiteX3" fmla="*/ 1010834 w 1054850"/>
                  <a:gd name="connsiteY3" fmla="*/ 611895 h 858402"/>
                  <a:gd name="connsiteX4" fmla="*/ 606402 w 1054850"/>
                  <a:gd name="connsiteY4" fmla="*/ 4010 h 858402"/>
                  <a:gd name="connsiteX5" fmla="*/ 20519 w 1054850"/>
                  <a:gd name="connsiteY5" fmla="*/ 517884 h 858402"/>
                  <a:gd name="connsiteX6" fmla="*/ 182444 w 1054850"/>
                  <a:gd name="connsiteY6" fmla="*/ 707145 h 858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4850" h="858402">
                    <a:moveTo>
                      <a:pt x="182444" y="707145"/>
                    </a:moveTo>
                    <a:lnTo>
                      <a:pt x="153869" y="858402"/>
                    </a:lnTo>
                    <a:lnTo>
                      <a:pt x="325796" y="774297"/>
                    </a:lnTo>
                    <a:cubicBezTo>
                      <a:pt x="609355" y="871642"/>
                      <a:pt x="923108" y="801919"/>
                      <a:pt x="1010834" y="611895"/>
                    </a:cubicBezTo>
                    <a:cubicBezTo>
                      <a:pt x="1147803" y="314906"/>
                      <a:pt x="951874" y="45158"/>
                      <a:pt x="606402" y="4010"/>
                    </a:cubicBezTo>
                    <a:cubicBezTo>
                      <a:pt x="313985" y="-30756"/>
                      <a:pt x="-96733" y="162220"/>
                      <a:pt x="20519" y="517884"/>
                    </a:cubicBezTo>
                    <a:cubicBezTo>
                      <a:pt x="45856" y="595131"/>
                      <a:pt x="105006" y="658473"/>
                      <a:pt x="182444" y="707145"/>
                    </a:cubicBezTo>
                    <a:close/>
                  </a:path>
                </a:pathLst>
              </a:custGeom>
              <a:solidFill>
                <a:schemeClr val="accent1">
                  <a:lumMod val="40000"/>
                  <a:lumOff val="60000"/>
                </a:schemeClr>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grpSp>
            <p:nvGrpSpPr>
              <p:cNvPr id="19" name="Graphic 1046">
                <a:extLst>
                  <a:ext uri="{FF2B5EF4-FFF2-40B4-BE49-F238E27FC236}">
                    <a16:creationId xmlns:a16="http://schemas.microsoft.com/office/drawing/2014/main" id="{0C929EB0-7FE4-80E9-2D11-F0B49557CF2C}"/>
                  </a:ext>
                </a:extLst>
              </p:cNvPr>
              <p:cNvGrpSpPr/>
              <p:nvPr/>
            </p:nvGrpSpPr>
            <p:grpSpPr>
              <a:xfrm>
                <a:off x="4704302" y="3351656"/>
                <a:ext cx="419327" cy="567975"/>
                <a:chOff x="4704302" y="3351656"/>
                <a:chExt cx="419327" cy="567975"/>
              </a:xfrm>
              <a:solidFill>
                <a:srgbClr val="FFFFFF"/>
              </a:solidFill>
            </p:grpSpPr>
            <p:sp>
              <p:nvSpPr>
                <p:cNvPr id="20" name="Freeform: Shape 1056">
                  <a:extLst>
                    <a:ext uri="{FF2B5EF4-FFF2-40B4-BE49-F238E27FC236}">
                      <a16:creationId xmlns:a16="http://schemas.microsoft.com/office/drawing/2014/main" id="{C7A8F5E3-A803-69C2-66DD-F13E85699A2E}"/>
                    </a:ext>
                  </a:extLst>
                </p:cNvPr>
                <p:cNvSpPr/>
                <p:nvPr/>
              </p:nvSpPr>
              <p:spPr>
                <a:xfrm>
                  <a:off x="4704302" y="3351656"/>
                  <a:ext cx="419327" cy="397859"/>
                </a:xfrm>
                <a:custGeom>
                  <a:avLst/>
                  <a:gdLst>
                    <a:gd name="connsiteX0" fmla="*/ 179356 w 419327"/>
                    <a:gd name="connsiteY0" fmla="*/ 325374 h 397859"/>
                    <a:gd name="connsiteX1" fmla="*/ 235458 w 419327"/>
                    <a:gd name="connsiteY1" fmla="*/ 264700 h 397859"/>
                    <a:gd name="connsiteX2" fmla="*/ 279940 w 419327"/>
                    <a:gd name="connsiteY2" fmla="*/ 216789 h 397859"/>
                    <a:gd name="connsiteX3" fmla="*/ 289846 w 419327"/>
                    <a:gd name="connsiteY3" fmla="*/ 168878 h 397859"/>
                    <a:gd name="connsiteX4" fmla="*/ 264128 w 419327"/>
                    <a:gd name="connsiteY4" fmla="*/ 126873 h 397859"/>
                    <a:gd name="connsiteX5" fmla="*/ 205835 w 419327"/>
                    <a:gd name="connsiteY5" fmla="*/ 111157 h 397859"/>
                    <a:gd name="connsiteX6" fmla="*/ 138970 w 419327"/>
                    <a:gd name="connsiteY6" fmla="*/ 127730 h 397859"/>
                    <a:gd name="connsiteX7" fmla="*/ 91345 w 419327"/>
                    <a:gd name="connsiteY7" fmla="*/ 175641 h 397859"/>
                    <a:gd name="connsiteX8" fmla="*/ 0 w 419327"/>
                    <a:gd name="connsiteY8" fmla="*/ 110300 h 397859"/>
                    <a:gd name="connsiteX9" fmla="*/ 84392 w 419327"/>
                    <a:gd name="connsiteY9" fmla="*/ 29242 h 397859"/>
                    <a:gd name="connsiteX10" fmla="*/ 215837 w 419327"/>
                    <a:gd name="connsiteY10" fmla="*/ 0 h 397859"/>
                    <a:gd name="connsiteX11" fmla="*/ 353759 w 419327"/>
                    <a:gd name="connsiteY11" fmla="*/ 38576 h 397859"/>
                    <a:gd name="connsiteX12" fmla="*/ 417386 w 419327"/>
                    <a:gd name="connsiteY12" fmla="*/ 142494 h 397859"/>
                    <a:gd name="connsiteX13" fmla="*/ 413004 w 419327"/>
                    <a:gd name="connsiteY13" fmla="*/ 211265 h 397859"/>
                    <a:gd name="connsiteX14" fmla="*/ 385858 w 419327"/>
                    <a:gd name="connsiteY14" fmla="*/ 259652 h 397859"/>
                    <a:gd name="connsiteX15" fmla="*/ 340424 w 419327"/>
                    <a:gd name="connsiteY15" fmla="*/ 303752 h 397859"/>
                    <a:gd name="connsiteX16" fmla="*/ 293846 w 419327"/>
                    <a:gd name="connsiteY16" fmla="*/ 350806 h 397859"/>
                    <a:gd name="connsiteX17" fmla="*/ 276320 w 419327"/>
                    <a:gd name="connsiteY17" fmla="*/ 397859 h 397859"/>
                    <a:gd name="connsiteX18" fmla="*/ 157734 w 419327"/>
                    <a:gd name="connsiteY18" fmla="*/ 397859 h 397859"/>
                    <a:gd name="connsiteX19" fmla="*/ 179356 w 419327"/>
                    <a:gd name="connsiteY19" fmla="*/ 325374 h 397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9327" h="397859">
                      <a:moveTo>
                        <a:pt x="179356" y="325374"/>
                      </a:moveTo>
                      <a:cubicBezTo>
                        <a:pt x="192500" y="306419"/>
                        <a:pt x="211169" y="286226"/>
                        <a:pt x="235458" y="264700"/>
                      </a:cubicBezTo>
                      <a:cubicBezTo>
                        <a:pt x="255937" y="246031"/>
                        <a:pt x="270796" y="230029"/>
                        <a:pt x="279940" y="216789"/>
                      </a:cubicBezTo>
                      <a:cubicBezTo>
                        <a:pt x="289084" y="203454"/>
                        <a:pt x="292417" y="187547"/>
                        <a:pt x="289846" y="168878"/>
                      </a:cubicBezTo>
                      <a:cubicBezTo>
                        <a:pt x="287465" y="151352"/>
                        <a:pt x="278892" y="137351"/>
                        <a:pt x="264128" y="126873"/>
                      </a:cubicBezTo>
                      <a:cubicBezTo>
                        <a:pt x="249365" y="116396"/>
                        <a:pt x="229934" y="111157"/>
                        <a:pt x="205835" y="111157"/>
                      </a:cubicBezTo>
                      <a:cubicBezTo>
                        <a:pt x="180689" y="111157"/>
                        <a:pt x="158401" y="116681"/>
                        <a:pt x="138970" y="127730"/>
                      </a:cubicBezTo>
                      <a:cubicBezTo>
                        <a:pt x="119539" y="138779"/>
                        <a:pt x="103632" y="154781"/>
                        <a:pt x="91345" y="175641"/>
                      </a:cubicBezTo>
                      <a:lnTo>
                        <a:pt x="0" y="110300"/>
                      </a:lnTo>
                      <a:cubicBezTo>
                        <a:pt x="18859" y="75819"/>
                        <a:pt x="46958" y="48768"/>
                        <a:pt x="84392" y="29242"/>
                      </a:cubicBezTo>
                      <a:cubicBezTo>
                        <a:pt x="121729" y="9716"/>
                        <a:pt x="165545" y="0"/>
                        <a:pt x="215837" y="0"/>
                      </a:cubicBezTo>
                      <a:cubicBezTo>
                        <a:pt x="271272" y="0"/>
                        <a:pt x="317278" y="12859"/>
                        <a:pt x="353759" y="38576"/>
                      </a:cubicBezTo>
                      <a:cubicBezTo>
                        <a:pt x="390239" y="64294"/>
                        <a:pt x="411480" y="98965"/>
                        <a:pt x="417386" y="142494"/>
                      </a:cubicBezTo>
                      <a:cubicBezTo>
                        <a:pt x="421005" y="169069"/>
                        <a:pt x="419576" y="192024"/>
                        <a:pt x="413004" y="211265"/>
                      </a:cubicBezTo>
                      <a:cubicBezTo>
                        <a:pt x="406432" y="230505"/>
                        <a:pt x="397383" y="246602"/>
                        <a:pt x="385858" y="259652"/>
                      </a:cubicBezTo>
                      <a:cubicBezTo>
                        <a:pt x="374237" y="272701"/>
                        <a:pt x="359092" y="287369"/>
                        <a:pt x="340424" y="303752"/>
                      </a:cubicBezTo>
                      <a:cubicBezTo>
                        <a:pt x="319850" y="321850"/>
                        <a:pt x="304324" y="337566"/>
                        <a:pt x="293846" y="350806"/>
                      </a:cubicBezTo>
                      <a:cubicBezTo>
                        <a:pt x="283369" y="364141"/>
                        <a:pt x="277463" y="379762"/>
                        <a:pt x="276320" y="397859"/>
                      </a:cubicBezTo>
                      <a:lnTo>
                        <a:pt x="157734" y="397859"/>
                      </a:lnTo>
                      <a:cubicBezTo>
                        <a:pt x="159067" y="368522"/>
                        <a:pt x="166211" y="344329"/>
                        <a:pt x="179356" y="325374"/>
                      </a:cubicBezTo>
                      <a:close/>
                    </a:path>
                  </a:pathLst>
                </a:custGeom>
                <a:solidFill>
                  <a:srgbClr val="FFFFFF"/>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21" name="Freeform: Shape 1057">
                  <a:extLst>
                    <a:ext uri="{FF2B5EF4-FFF2-40B4-BE49-F238E27FC236}">
                      <a16:creationId xmlns:a16="http://schemas.microsoft.com/office/drawing/2014/main" id="{2627493D-731E-ECB6-D615-C2A4A37A72E5}"/>
                    </a:ext>
                  </a:extLst>
                </p:cNvPr>
                <p:cNvSpPr/>
                <p:nvPr/>
              </p:nvSpPr>
              <p:spPr>
                <a:xfrm>
                  <a:off x="4854511" y="3787234"/>
                  <a:ext cx="132397" cy="132397"/>
                </a:xfrm>
                <a:custGeom>
                  <a:avLst/>
                  <a:gdLst>
                    <a:gd name="connsiteX0" fmla="*/ 132397 w 132397"/>
                    <a:gd name="connsiteY0" fmla="*/ 66199 h 132397"/>
                    <a:gd name="connsiteX1" fmla="*/ 66199 w 132397"/>
                    <a:gd name="connsiteY1" fmla="*/ 132397 h 132397"/>
                    <a:gd name="connsiteX2" fmla="*/ 0 w 132397"/>
                    <a:gd name="connsiteY2" fmla="*/ 66199 h 132397"/>
                    <a:gd name="connsiteX3" fmla="*/ 66199 w 132397"/>
                    <a:gd name="connsiteY3" fmla="*/ 0 h 132397"/>
                    <a:gd name="connsiteX4" fmla="*/ 132397 w 132397"/>
                    <a:gd name="connsiteY4" fmla="*/ 66199 h 132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397" h="132397">
                      <a:moveTo>
                        <a:pt x="132397" y="66199"/>
                      </a:moveTo>
                      <a:cubicBezTo>
                        <a:pt x="132397" y="102775"/>
                        <a:pt x="102775" y="132397"/>
                        <a:pt x="66199" y="132397"/>
                      </a:cubicBezTo>
                      <a:cubicBezTo>
                        <a:pt x="29623" y="132397"/>
                        <a:pt x="0" y="102775"/>
                        <a:pt x="0" y="66199"/>
                      </a:cubicBezTo>
                      <a:cubicBezTo>
                        <a:pt x="0" y="29623"/>
                        <a:pt x="29623" y="0"/>
                        <a:pt x="66199" y="0"/>
                      </a:cubicBezTo>
                      <a:cubicBezTo>
                        <a:pt x="102775" y="0"/>
                        <a:pt x="132397" y="29623"/>
                        <a:pt x="132397" y="66199"/>
                      </a:cubicBezTo>
                      <a:close/>
                    </a:path>
                  </a:pathLst>
                </a:custGeom>
                <a:solidFill>
                  <a:srgbClr val="FFFFFF"/>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grpSp>
        </p:grpSp>
        <p:grpSp>
          <p:nvGrpSpPr>
            <p:cNvPr id="6" name="Graphic 1046">
              <a:extLst>
                <a:ext uri="{FF2B5EF4-FFF2-40B4-BE49-F238E27FC236}">
                  <a16:creationId xmlns:a16="http://schemas.microsoft.com/office/drawing/2014/main" id="{C3F548D2-F04D-3274-1817-F0D828814D95}"/>
                </a:ext>
              </a:extLst>
            </p:cNvPr>
            <p:cNvGrpSpPr/>
            <p:nvPr/>
          </p:nvGrpSpPr>
          <p:grpSpPr>
            <a:xfrm>
              <a:off x="4576667" y="2338387"/>
              <a:ext cx="1133189" cy="994981"/>
              <a:chOff x="4576667" y="2338387"/>
              <a:chExt cx="1133189" cy="994981"/>
            </a:xfrm>
          </p:grpSpPr>
          <p:sp>
            <p:nvSpPr>
              <p:cNvPr id="14" name="Freeform: Shape 1059">
                <a:extLst>
                  <a:ext uri="{FF2B5EF4-FFF2-40B4-BE49-F238E27FC236}">
                    <a16:creationId xmlns:a16="http://schemas.microsoft.com/office/drawing/2014/main" id="{CECB080B-6A32-2ACA-0C3A-F1773E885C65}"/>
                  </a:ext>
                </a:extLst>
              </p:cNvPr>
              <p:cNvSpPr/>
              <p:nvPr/>
            </p:nvSpPr>
            <p:spPr>
              <a:xfrm>
                <a:off x="4576667" y="2338387"/>
                <a:ext cx="1133189" cy="994981"/>
              </a:xfrm>
              <a:custGeom>
                <a:avLst/>
                <a:gdLst>
                  <a:gd name="connsiteX0" fmla="*/ 252698 w 1133189"/>
                  <a:gd name="connsiteY0" fmla="*/ 835914 h 994981"/>
                  <a:gd name="connsiteX1" fmla="*/ 1020604 w 1133189"/>
                  <a:gd name="connsiteY1" fmla="*/ 888206 h 994981"/>
                  <a:gd name="connsiteX2" fmla="*/ 1133189 w 1133189"/>
                  <a:gd name="connsiteY2" fmla="*/ 0 h 994981"/>
                  <a:gd name="connsiteX3" fmla="*/ 22193 w 1133189"/>
                  <a:gd name="connsiteY3" fmla="*/ 172974 h 994981"/>
                  <a:gd name="connsiteX4" fmla="*/ 0 w 1133189"/>
                  <a:gd name="connsiteY4" fmla="*/ 818674 h 994981"/>
                  <a:gd name="connsiteX5" fmla="*/ 111347 w 1133189"/>
                  <a:gd name="connsiteY5" fmla="*/ 826294 h 994981"/>
                  <a:gd name="connsiteX6" fmla="*/ 157829 w 1133189"/>
                  <a:gd name="connsiteY6" fmla="*/ 994982 h 994981"/>
                  <a:gd name="connsiteX7" fmla="*/ 252698 w 1133189"/>
                  <a:gd name="connsiteY7" fmla="*/ 835914 h 994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3189" h="994981">
                    <a:moveTo>
                      <a:pt x="252698" y="835914"/>
                    </a:moveTo>
                    <a:lnTo>
                      <a:pt x="1020604" y="888206"/>
                    </a:lnTo>
                    <a:cubicBezTo>
                      <a:pt x="1136047" y="99346"/>
                      <a:pt x="1098137" y="276416"/>
                      <a:pt x="1133189" y="0"/>
                    </a:cubicBezTo>
                    <a:lnTo>
                      <a:pt x="22193" y="172974"/>
                    </a:lnTo>
                    <a:lnTo>
                      <a:pt x="0" y="818674"/>
                    </a:lnTo>
                    <a:lnTo>
                      <a:pt x="111347" y="826294"/>
                    </a:lnTo>
                    <a:lnTo>
                      <a:pt x="157829" y="994982"/>
                    </a:lnTo>
                    <a:lnTo>
                      <a:pt x="252698" y="835914"/>
                    </a:lnTo>
                    <a:close/>
                  </a:path>
                </a:pathLst>
              </a:custGeom>
              <a:solidFill>
                <a:schemeClr val="accent1"/>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grpSp>
            <p:nvGrpSpPr>
              <p:cNvPr id="15" name="Graphic 1046">
                <a:extLst>
                  <a:ext uri="{FF2B5EF4-FFF2-40B4-BE49-F238E27FC236}">
                    <a16:creationId xmlns:a16="http://schemas.microsoft.com/office/drawing/2014/main" id="{BC9A245E-3CB8-F163-235D-3AC6492F9454}"/>
                  </a:ext>
                </a:extLst>
              </p:cNvPr>
              <p:cNvGrpSpPr/>
              <p:nvPr/>
            </p:nvGrpSpPr>
            <p:grpSpPr>
              <a:xfrm>
                <a:off x="4881848" y="2509265"/>
                <a:ext cx="419327" cy="570017"/>
                <a:chOff x="4881848" y="2509265"/>
                <a:chExt cx="419327" cy="570017"/>
              </a:xfrm>
              <a:solidFill>
                <a:srgbClr val="FFFFFF"/>
              </a:solidFill>
            </p:grpSpPr>
            <p:sp>
              <p:nvSpPr>
                <p:cNvPr id="16" name="Freeform: Shape 1061">
                  <a:extLst>
                    <a:ext uri="{FF2B5EF4-FFF2-40B4-BE49-F238E27FC236}">
                      <a16:creationId xmlns:a16="http://schemas.microsoft.com/office/drawing/2014/main" id="{94256FA8-566C-EA81-4908-6D8F6AC42883}"/>
                    </a:ext>
                  </a:extLst>
                </p:cNvPr>
                <p:cNvSpPr/>
                <p:nvPr/>
              </p:nvSpPr>
              <p:spPr>
                <a:xfrm>
                  <a:off x="4881848" y="2509265"/>
                  <a:ext cx="419327" cy="397859"/>
                </a:xfrm>
                <a:custGeom>
                  <a:avLst/>
                  <a:gdLst>
                    <a:gd name="connsiteX0" fmla="*/ 179356 w 419327"/>
                    <a:gd name="connsiteY0" fmla="*/ 325374 h 397859"/>
                    <a:gd name="connsiteX1" fmla="*/ 235458 w 419327"/>
                    <a:gd name="connsiteY1" fmla="*/ 264700 h 397859"/>
                    <a:gd name="connsiteX2" fmla="*/ 279940 w 419327"/>
                    <a:gd name="connsiteY2" fmla="*/ 216789 h 397859"/>
                    <a:gd name="connsiteX3" fmla="*/ 289846 w 419327"/>
                    <a:gd name="connsiteY3" fmla="*/ 168878 h 397859"/>
                    <a:gd name="connsiteX4" fmla="*/ 264128 w 419327"/>
                    <a:gd name="connsiteY4" fmla="*/ 126873 h 397859"/>
                    <a:gd name="connsiteX5" fmla="*/ 205835 w 419327"/>
                    <a:gd name="connsiteY5" fmla="*/ 111157 h 397859"/>
                    <a:gd name="connsiteX6" fmla="*/ 138970 w 419327"/>
                    <a:gd name="connsiteY6" fmla="*/ 127730 h 397859"/>
                    <a:gd name="connsiteX7" fmla="*/ 91345 w 419327"/>
                    <a:gd name="connsiteY7" fmla="*/ 175641 h 397859"/>
                    <a:gd name="connsiteX8" fmla="*/ 0 w 419327"/>
                    <a:gd name="connsiteY8" fmla="*/ 110300 h 397859"/>
                    <a:gd name="connsiteX9" fmla="*/ 84392 w 419327"/>
                    <a:gd name="connsiteY9" fmla="*/ 29242 h 397859"/>
                    <a:gd name="connsiteX10" fmla="*/ 215837 w 419327"/>
                    <a:gd name="connsiteY10" fmla="*/ 0 h 397859"/>
                    <a:gd name="connsiteX11" fmla="*/ 353759 w 419327"/>
                    <a:gd name="connsiteY11" fmla="*/ 38576 h 397859"/>
                    <a:gd name="connsiteX12" fmla="*/ 417386 w 419327"/>
                    <a:gd name="connsiteY12" fmla="*/ 142494 h 397859"/>
                    <a:gd name="connsiteX13" fmla="*/ 413004 w 419327"/>
                    <a:gd name="connsiteY13" fmla="*/ 211264 h 397859"/>
                    <a:gd name="connsiteX14" fmla="*/ 385858 w 419327"/>
                    <a:gd name="connsiteY14" fmla="*/ 259652 h 397859"/>
                    <a:gd name="connsiteX15" fmla="*/ 340424 w 419327"/>
                    <a:gd name="connsiteY15" fmla="*/ 303752 h 397859"/>
                    <a:gd name="connsiteX16" fmla="*/ 293846 w 419327"/>
                    <a:gd name="connsiteY16" fmla="*/ 350806 h 397859"/>
                    <a:gd name="connsiteX17" fmla="*/ 276320 w 419327"/>
                    <a:gd name="connsiteY17" fmla="*/ 397859 h 397859"/>
                    <a:gd name="connsiteX18" fmla="*/ 157829 w 419327"/>
                    <a:gd name="connsiteY18" fmla="*/ 397859 h 397859"/>
                    <a:gd name="connsiteX19" fmla="*/ 179356 w 419327"/>
                    <a:gd name="connsiteY19" fmla="*/ 325374 h 397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9327" h="397859">
                      <a:moveTo>
                        <a:pt x="179356" y="325374"/>
                      </a:moveTo>
                      <a:cubicBezTo>
                        <a:pt x="192500" y="306419"/>
                        <a:pt x="211169" y="286226"/>
                        <a:pt x="235458" y="264700"/>
                      </a:cubicBezTo>
                      <a:cubicBezTo>
                        <a:pt x="255937" y="246031"/>
                        <a:pt x="270796" y="230029"/>
                        <a:pt x="279940" y="216789"/>
                      </a:cubicBezTo>
                      <a:cubicBezTo>
                        <a:pt x="289084" y="203454"/>
                        <a:pt x="292417" y="187547"/>
                        <a:pt x="289846" y="168878"/>
                      </a:cubicBezTo>
                      <a:cubicBezTo>
                        <a:pt x="287465" y="151352"/>
                        <a:pt x="278892" y="137351"/>
                        <a:pt x="264128" y="126873"/>
                      </a:cubicBezTo>
                      <a:cubicBezTo>
                        <a:pt x="249365" y="116395"/>
                        <a:pt x="229934" y="111157"/>
                        <a:pt x="205835" y="111157"/>
                      </a:cubicBezTo>
                      <a:cubicBezTo>
                        <a:pt x="180689" y="111157"/>
                        <a:pt x="158401" y="116681"/>
                        <a:pt x="138970" y="127730"/>
                      </a:cubicBezTo>
                      <a:cubicBezTo>
                        <a:pt x="119539" y="138779"/>
                        <a:pt x="103632" y="154781"/>
                        <a:pt x="91345" y="175641"/>
                      </a:cubicBezTo>
                      <a:lnTo>
                        <a:pt x="0" y="110300"/>
                      </a:lnTo>
                      <a:cubicBezTo>
                        <a:pt x="18859" y="75819"/>
                        <a:pt x="46958" y="48768"/>
                        <a:pt x="84392" y="29242"/>
                      </a:cubicBezTo>
                      <a:cubicBezTo>
                        <a:pt x="121729" y="9715"/>
                        <a:pt x="165545" y="0"/>
                        <a:pt x="215837" y="0"/>
                      </a:cubicBezTo>
                      <a:cubicBezTo>
                        <a:pt x="271272" y="0"/>
                        <a:pt x="317278" y="12859"/>
                        <a:pt x="353759" y="38576"/>
                      </a:cubicBezTo>
                      <a:cubicBezTo>
                        <a:pt x="390239" y="64294"/>
                        <a:pt x="411480" y="98965"/>
                        <a:pt x="417386" y="142494"/>
                      </a:cubicBezTo>
                      <a:cubicBezTo>
                        <a:pt x="421005" y="169069"/>
                        <a:pt x="419576" y="192024"/>
                        <a:pt x="413004" y="211264"/>
                      </a:cubicBezTo>
                      <a:cubicBezTo>
                        <a:pt x="406432" y="230505"/>
                        <a:pt x="397383" y="246602"/>
                        <a:pt x="385858" y="259652"/>
                      </a:cubicBezTo>
                      <a:cubicBezTo>
                        <a:pt x="374237" y="272701"/>
                        <a:pt x="359092" y="287369"/>
                        <a:pt x="340424" y="303752"/>
                      </a:cubicBezTo>
                      <a:cubicBezTo>
                        <a:pt x="319850" y="321850"/>
                        <a:pt x="304324" y="337566"/>
                        <a:pt x="293846" y="350806"/>
                      </a:cubicBezTo>
                      <a:cubicBezTo>
                        <a:pt x="283369" y="364141"/>
                        <a:pt x="277463" y="379762"/>
                        <a:pt x="276320" y="397859"/>
                      </a:cubicBezTo>
                      <a:lnTo>
                        <a:pt x="157829" y="397859"/>
                      </a:lnTo>
                      <a:cubicBezTo>
                        <a:pt x="159067" y="368522"/>
                        <a:pt x="166211" y="344329"/>
                        <a:pt x="179356" y="325374"/>
                      </a:cubicBezTo>
                      <a:close/>
                    </a:path>
                  </a:pathLst>
                </a:custGeom>
                <a:solidFill>
                  <a:srgbClr val="FFFFFF"/>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7" name="Freeform: Shape 1062">
                  <a:extLst>
                    <a:ext uri="{FF2B5EF4-FFF2-40B4-BE49-F238E27FC236}">
                      <a16:creationId xmlns:a16="http://schemas.microsoft.com/office/drawing/2014/main" id="{67425714-4C32-F744-EBC2-4AEEA2FC601F}"/>
                    </a:ext>
                  </a:extLst>
                </p:cNvPr>
                <p:cNvSpPr/>
                <p:nvPr/>
              </p:nvSpPr>
              <p:spPr>
                <a:xfrm rot="-5292036">
                  <a:off x="5032046" y="2944840"/>
                  <a:ext cx="132396" cy="132396"/>
                </a:xfrm>
                <a:custGeom>
                  <a:avLst/>
                  <a:gdLst>
                    <a:gd name="connsiteX0" fmla="*/ 132397 w 132396"/>
                    <a:gd name="connsiteY0" fmla="*/ 66198 h 132396"/>
                    <a:gd name="connsiteX1" fmla="*/ 66198 w 132396"/>
                    <a:gd name="connsiteY1" fmla="*/ 132397 h 132396"/>
                    <a:gd name="connsiteX2" fmla="*/ 0 w 132396"/>
                    <a:gd name="connsiteY2" fmla="*/ 66198 h 132396"/>
                    <a:gd name="connsiteX3" fmla="*/ 66198 w 132396"/>
                    <a:gd name="connsiteY3" fmla="*/ 0 h 132396"/>
                    <a:gd name="connsiteX4" fmla="*/ 132397 w 132396"/>
                    <a:gd name="connsiteY4" fmla="*/ 66198 h 132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396" h="132396">
                      <a:moveTo>
                        <a:pt x="132397" y="66198"/>
                      </a:moveTo>
                      <a:cubicBezTo>
                        <a:pt x="132397" y="102759"/>
                        <a:pt x="102759" y="132397"/>
                        <a:pt x="66198" y="132397"/>
                      </a:cubicBezTo>
                      <a:cubicBezTo>
                        <a:pt x="29638" y="132397"/>
                        <a:pt x="0" y="102759"/>
                        <a:pt x="0" y="66198"/>
                      </a:cubicBezTo>
                      <a:cubicBezTo>
                        <a:pt x="0" y="29638"/>
                        <a:pt x="29638" y="0"/>
                        <a:pt x="66198" y="0"/>
                      </a:cubicBezTo>
                      <a:cubicBezTo>
                        <a:pt x="102759" y="0"/>
                        <a:pt x="132397" y="29638"/>
                        <a:pt x="132397" y="66198"/>
                      </a:cubicBezTo>
                      <a:close/>
                    </a:path>
                  </a:pathLst>
                </a:custGeom>
                <a:solidFill>
                  <a:srgbClr val="FFFFFF"/>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grpSp>
        </p:grpSp>
        <p:grpSp>
          <p:nvGrpSpPr>
            <p:cNvPr id="9" name="Graphic 1046">
              <a:extLst>
                <a:ext uri="{FF2B5EF4-FFF2-40B4-BE49-F238E27FC236}">
                  <a16:creationId xmlns:a16="http://schemas.microsoft.com/office/drawing/2014/main" id="{CE98F2AC-BCA0-D389-F7F6-50CDB89A89B9}"/>
                </a:ext>
              </a:extLst>
            </p:cNvPr>
            <p:cNvGrpSpPr/>
            <p:nvPr/>
          </p:nvGrpSpPr>
          <p:grpSpPr>
            <a:xfrm>
              <a:off x="3686197" y="2560356"/>
              <a:ext cx="985571" cy="1057523"/>
              <a:chOff x="3686197" y="2560356"/>
              <a:chExt cx="985571" cy="1057523"/>
            </a:xfrm>
          </p:grpSpPr>
          <p:sp>
            <p:nvSpPr>
              <p:cNvPr id="10" name="Freeform: Shape 1064">
                <a:extLst>
                  <a:ext uri="{FF2B5EF4-FFF2-40B4-BE49-F238E27FC236}">
                    <a16:creationId xmlns:a16="http://schemas.microsoft.com/office/drawing/2014/main" id="{FA5EE38A-D53B-605D-1A5A-EEC05E59D589}"/>
                  </a:ext>
                </a:extLst>
              </p:cNvPr>
              <p:cNvSpPr/>
              <p:nvPr/>
            </p:nvSpPr>
            <p:spPr>
              <a:xfrm>
                <a:off x="3686197" y="2560356"/>
                <a:ext cx="985571" cy="1057523"/>
              </a:xfrm>
              <a:custGeom>
                <a:avLst/>
                <a:gdLst>
                  <a:gd name="connsiteX0" fmla="*/ 430317 w 985571"/>
                  <a:gd name="connsiteY0" fmla="*/ 915887 h 1057523"/>
                  <a:gd name="connsiteX1" fmla="*/ 464321 w 985571"/>
                  <a:gd name="connsiteY1" fmla="*/ 913125 h 1057523"/>
                  <a:gd name="connsiteX2" fmla="*/ 590337 w 985571"/>
                  <a:gd name="connsiteY2" fmla="*/ 1057524 h 1057523"/>
                  <a:gd name="connsiteX3" fmla="*/ 621103 w 985571"/>
                  <a:gd name="connsiteY3" fmla="*/ 877216 h 1057523"/>
                  <a:gd name="connsiteX4" fmla="*/ 895613 w 985571"/>
                  <a:gd name="connsiteY4" fmla="*/ 113787 h 1057523"/>
                  <a:gd name="connsiteX5" fmla="*/ 82464 w 985571"/>
                  <a:gd name="connsiteY5" fmla="*/ 275902 h 1057523"/>
                  <a:gd name="connsiteX6" fmla="*/ 430317 w 985571"/>
                  <a:gd name="connsiteY6" fmla="*/ 915887 h 1057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5571" h="1057523">
                    <a:moveTo>
                      <a:pt x="430317" y="915887"/>
                    </a:moveTo>
                    <a:cubicBezTo>
                      <a:pt x="441937" y="915316"/>
                      <a:pt x="453082" y="914268"/>
                      <a:pt x="464321" y="913125"/>
                    </a:cubicBezTo>
                    <a:lnTo>
                      <a:pt x="590337" y="1057524"/>
                    </a:lnTo>
                    <a:lnTo>
                      <a:pt x="621103" y="877216"/>
                    </a:lnTo>
                    <a:cubicBezTo>
                      <a:pt x="982291" y="740627"/>
                      <a:pt x="1077541" y="283808"/>
                      <a:pt x="895613" y="113787"/>
                    </a:cubicBezTo>
                    <a:cubicBezTo>
                      <a:pt x="684825" y="-83000"/>
                      <a:pt x="264010" y="-21754"/>
                      <a:pt x="82464" y="275902"/>
                    </a:cubicBezTo>
                    <a:cubicBezTo>
                      <a:pt x="-46409" y="487357"/>
                      <a:pt x="-84890" y="939223"/>
                      <a:pt x="430317" y="915887"/>
                    </a:cubicBezTo>
                    <a:close/>
                  </a:path>
                </a:pathLst>
              </a:custGeom>
              <a:solidFill>
                <a:schemeClr val="accent1">
                  <a:lumMod val="60000"/>
                  <a:lumOff val="40000"/>
                </a:schemeClr>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grpSp>
            <p:nvGrpSpPr>
              <p:cNvPr id="11" name="Graphic 1046">
                <a:extLst>
                  <a:ext uri="{FF2B5EF4-FFF2-40B4-BE49-F238E27FC236}">
                    <a16:creationId xmlns:a16="http://schemas.microsoft.com/office/drawing/2014/main" id="{A6588D07-0842-732D-9279-37B385AF769E}"/>
                  </a:ext>
                </a:extLst>
              </p:cNvPr>
              <p:cNvGrpSpPr/>
              <p:nvPr/>
            </p:nvGrpSpPr>
            <p:grpSpPr>
              <a:xfrm>
                <a:off x="3961066" y="2757105"/>
                <a:ext cx="419327" cy="567975"/>
                <a:chOff x="3961066" y="2757105"/>
                <a:chExt cx="419327" cy="567975"/>
              </a:xfrm>
              <a:solidFill>
                <a:srgbClr val="FFFFFF"/>
              </a:solidFill>
            </p:grpSpPr>
            <p:sp>
              <p:nvSpPr>
                <p:cNvPr id="12" name="Freeform: Shape 1066">
                  <a:extLst>
                    <a:ext uri="{FF2B5EF4-FFF2-40B4-BE49-F238E27FC236}">
                      <a16:creationId xmlns:a16="http://schemas.microsoft.com/office/drawing/2014/main" id="{72BED76A-165B-D8E0-7BD6-C8835E1F1F8E}"/>
                    </a:ext>
                  </a:extLst>
                </p:cNvPr>
                <p:cNvSpPr/>
                <p:nvPr/>
              </p:nvSpPr>
              <p:spPr>
                <a:xfrm>
                  <a:off x="3961066" y="2757105"/>
                  <a:ext cx="419327" cy="397859"/>
                </a:xfrm>
                <a:custGeom>
                  <a:avLst/>
                  <a:gdLst>
                    <a:gd name="connsiteX0" fmla="*/ 179356 w 419327"/>
                    <a:gd name="connsiteY0" fmla="*/ 325374 h 397859"/>
                    <a:gd name="connsiteX1" fmla="*/ 235458 w 419327"/>
                    <a:gd name="connsiteY1" fmla="*/ 264700 h 397859"/>
                    <a:gd name="connsiteX2" fmla="*/ 279940 w 419327"/>
                    <a:gd name="connsiteY2" fmla="*/ 216789 h 397859"/>
                    <a:gd name="connsiteX3" fmla="*/ 289846 w 419327"/>
                    <a:gd name="connsiteY3" fmla="*/ 168878 h 397859"/>
                    <a:gd name="connsiteX4" fmla="*/ 264128 w 419327"/>
                    <a:gd name="connsiteY4" fmla="*/ 126873 h 397859"/>
                    <a:gd name="connsiteX5" fmla="*/ 205835 w 419327"/>
                    <a:gd name="connsiteY5" fmla="*/ 111157 h 397859"/>
                    <a:gd name="connsiteX6" fmla="*/ 138970 w 419327"/>
                    <a:gd name="connsiteY6" fmla="*/ 127730 h 397859"/>
                    <a:gd name="connsiteX7" fmla="*/ 91345 w 419327"/>
                    <a:gd name="connsiteY7" fmla="*/ 175641 h 397859"/>
                    <a:gd name="connsiteX8" fmla="*/ 0 w 419327"/>
                    <a:gd name="connsiteY8" fmla="*/ 110300 h 397859"/>
                    <a:gd name="connsiteX9" fmla="*/ 84392 w 419327"/>
                    <a:gd name="connsiteY9" fmla="*/ 29242 h 397859"/>
                    <a:gd name="connsiteX10" fmla="*/ 215836 w 419327"/>
                    <a:gd name="connsiteY10" fmla="*/ 0 h 397859"/>
                    <a:gd name="connsiteX11" fmla="*/ 353759 w 419327"/>
                    <a:gd name="connsiteY11" fmla="*/ 38576 h 397859"/>
                    <a:gd name="connsiteX12" fmla="*/ 417386 w 419327"/>
                    <a:gd name="connsiteY12" fmla="*/ 142494 h 397859"/>
                    <a:gd name="connsiteX13" fmla="*/ 413004 w 419327"/>
                    <a:gd name="connsiteY13" fmla="*/ 211265 h 397859"/>
                    <a:gd name="connsiteX14" fmla="*/ 385858 w 419327"/>
                    <a:gd name="connsiteY14" fmla="*/ 259652 h 397859"/>
                    <a:gd name="connsiteX15" fmla="*/ 340423 w 419327"/>
                    <a:gd name="connsiteY15" fmla="*/ 303752 h 397859"/>
                    <a:gd name="connsiteX16" fmla="*/ 293846 w 419327"/>
                    <a:gd name="connsiteY16" fmla="*/ 350806 h 397859"/>
                    <a:gd name="connsiteX17" fmla="*/ 276320 w 419327"/>
                    <a:gd name="connsiteY17" fmla="*/ 397859 h 397859"/>
                    <a:gd name="connsiteX18" fmla="*/ 157829 w 419327"/>
                    <a:gd name="connsiteY18" fmla="*/ 397859 h 397859"/>
                    <a:gd name="connsiteX19" fmla="*/ 179356 w 419327"/>
                    <a:gd name="connsiteY19" fmla="*/ 325374 h 397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9327" h="397859">
                      <a:moveTo>
                        <a:pt x="179356" y="325374"/>
                      </a:moveTo>
                      <a:cubicBezTo>
                        <a:pt x="192500" y="306419"/>
                        <a:pt x="211169" y="286226"/>
                        <a:pt x="235458" y="264700"/>
                      </a:cubicBezTo>
                      <a:cubicBezTo>
                        <a:pt x="255937" y="246031"/>
                        <a:pt x="270796" y="230029"/>
                        <a:pt x="279940" y="216789"/>
                      </a:cubicBezTo>
                      <a:cubicBezTo>
                        <a:pt x="289084" y="203454"/>
                        <a:pt x="292417" y="187547"/>
                        <a:pt x="289846" y="168878"/>
                      </a:cubicBezTo>
                      <a:cubicBezTo>
                        <a:pt x="287465" y="151352"/>
                        <a:pt x="278892" y="137351"/>
                        <a:pt x="264128" y="126873"/>
                      </a:cubicBezTo>
                      <a:cubicBezTo>
                        <a:pt x="249365" y="116396"/>
                        <a:pt x="229934" y="111157"/>
                        <a:pt x="205835" y="111157"/>
                      </a:cubicBezTo>
                      <a:cubicBezTo>
                        <a:pt x="180689" y="111157"/>
                        <a:pt x="158401" y="116681"/>
                        <a:pt x="138970" y="127730"/>
                      </a:cubicBezTo>
                      <a:cubicBezTo>
                        <a:pt x="119539" y="138779"/>
                        <a:pt x="103632" y="154781"/>
                        <a:pt x="91345" y="175641"/>
                      </a:cubicBezTo>
                      <a:lnTo>
                        <a:pt x="0" y="110300"/>
                      </a:lnTo>
                      <a:cubicBezTo>
                        <a:pt x="18859" y="75819"/>
                        <a:pt x="46958" y="48768"/>
                        <a:pt x="84392" y="29242"/>
                      </a:cubicBezTo>
                      <a:cubicBezTo>
                        <a:pt x="121825" y="9716"/>
                        <a:pt x="165544" y="0"/>
                        <a:pt x="215836" y="0"/>
                      </a:cubicBezTo>
                      <a:cubicBezTo>
                        <a:pt x="271272" y="0"/>
                        <a:pt x="317278" y="12859"/>
                        <a:pt x="353759" y="38576"/>
                      </a:cubicBezTo>
                      <a:cubicBezTo>
                        <a:pt x="390239" y="64294"/>
                        <a:pt x="411480" y="98965"/>
                        <a:pt x="417386" y="142494"/>
                      </a:cubicBezTo>
                      <a:cubicBezTo>
                        <a:pt x="421005" y="169069"/>
                        <a:pt x="419576" y="192024"/>
                        <a:pt x="413004" y="211265"/>
                      </a:cubicBezTo>
                      <a:cubicBezTo>
                        <a:pt x="406432" y="230505"/>
                        <a:pt x="397383" y="246602"/>
                        <a:pt x="385858" y="259652"/>
                      </a:cubicBezTo>
                      <a:cubicBezTo>
                        <a:pt x="374237" y="272701"/>
                        <a:pt x="359092" y="287369"/>
                        <a:pt x="340423" y="303752"/>
                      </a:cubicBezTo>
                      <a:cubicBezTo>
                        <a:pt x="319850" y="321850"/>
                        <a:pt x="304324" y="337566"/>
                        <a:pt x="293846" y="350806"/>
                      </a:cubicBezTo>
                      <a:cubicBezTo>
                        <a:pt x="283369" y="364141"/>
                        <a:pt x="277463" y="379762"/>
                        <a:pt x="276320" y="397859"/>
                      </a:cubicBezTo>
                      <a:lnTo>
                        <a:pt x="157829" y="397859"/>
                      </a:lnTo>
                      <a:cubicBezTo>
                        <a:pt x="158972" y="368522"/>
                        <a:pt x="166211" y="344329"/>
                        <a:pt x="179356" y="325374"/>
                      </a:cubicBezTo>
                      <a:close/>
                    </a:path>
                  </a:pathLst>
                </a:custGeom>
                <a:solidFill>
                  <a:srgbClr val="FFFFFF"/>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sp>
              <p:nvSpPr>
                <p:cNvPr id="13" name="Freeform: Shape 1067">
                  <a:extLst>
                    <a:ext uri="{FF2B5EF4-FFF2-40B4-BE49-F238E27FC236}">
                      <a16:creationId xmlns:a16="http://schemas.microsoft.com/office/drawing/2014/main" id="{075EB55E-B9E0-FA11-FA9C-2E4C544A1E1C}"/>
                    </a:ext>
                  </a:extLst>
                </p:cNvPr>
                <p:cNvSpPr/>
                <p:nvPr/>
              </p:nvSpPr>
              <p:spPr>
                <a:xfrm>
                  <a:off x="4111275" y="3192684"/>
                  <a:ext cx="132397" cy="132397"/>
                </a:xfrm>
                <a:custGeom>
                  <a:avLst/>
                  <a:gdLst>
                    <a:gd name="connsiteX0" fmla="*/ 132397 w 132397"/>
                    <a:gd name="connsiteY0" fmla="*/ 66199 h 132397"/>
                    <a:gd name="connsiteX1" fmla="*/ 66199 w 132397"/>
                    <a:gd name="connsiteY1" fmla="*/ 132397 h 132397"/>
                    <a:gd name="connsiteX2" fmla="*/ 0 w 132397"/>
                    <a:gd name="connsiteY2" fmla="*/ 66199 h 132397"/>
                    <a:gd name="connsiteX3" fmla="*/ 66199 w 132397"/>
                    <a:gd name="connsiteY3" fmla="*/ 0 h 132397"/>
                    <a:gd name="connsiteX4" fmla="*/ 132397 w 132397"/>
                    <a:gd name="connsiteY4" fmla="*/ 66199 h 1323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2397" h="132397">
                      <a:moveTo>
                        <a:pt x="132397" y="66199"/>
                      </a:moveTo>
                      <a:cubicBezTo>
                        <a:pt x="132397" y="102759"/>
                        <a:pt x="102759" y="132397"/>
                        <a:pt x="66199" y="132397"/>
                      </a:cubicBezTo>
                      <a:cubicBezTo>
                        <a:pt x="29638" y="132397"/>
                        <a:pt x="0" y="102759"/>
                        <a:pt x="0" y="66199"/>
                      </a:cubicBezTo>
                      <a:cubicBezTo>
                        <a:pt x="0" y="29638"/>
                        <a:pt x="29638" y="0"/>
                        <a:pt x="66199" y="0"/>
                      </a:cubicBezTo>
                      <a:cubicBezTo>
                        <a:pt x="102759" y="0"/>
                        <a:pt x="132397" y="29638"/>
                        <a:pt x="132397" y="66199"/>
                      </a:cubicBezTo>
                      <a:close/>
                    </a:path>
                  </a:pathLst>
                </a:custGeom>
                <a:solidFill>
                  <a:srgbClr val="FFFFFF"/>
                </a:solidFill>
                <a:ln w="9525" cap="flat">
                  <a:noFill/>
                  <a:prstDash val="solid"/>
                  <a:miter/>
                </a:ln>
              </p:spPr>
              <p:txBody>
                <a:bodyPr rtlCol="0" anchor="ct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a:p>
              </p:txBody>
            </p:sp>
          </p:grpSp>
        </p:grpSp>
      </p:grpSp>
    </p:spTree>
    <p:extLst>
      <p:ext uri="{BB962C8B-B14F-4D97-AF65-F5344CB8AC3E}">
        <p14:creationId xmlns:p14="http://schemas.microsoft.com/office/powerpoint/2010/main" val="129885946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3B1BACD9-8A4A-8AE1-025A-999C3C2B4F31}"/>
              </a:ext>
            </a:extLst>
          </p:cNvPr>
          <p:cNvPicPr>
            <a:picLocks noChangeAspect="1"/>
          </p:cNvPicPr>
          <p:nvPr/>
        </p:nvPicPr>
        <p:blipFill>
          <a:blip r:embed="rId6"/>
          <a:stretch>
            <a:fillRect/>
          </a:stretch>
        </p:blipFill>
        <p:spPr>
          <a:xfrm>
            <a:off x="8249967" y="2172248"/>
            <a:ext cx="1189332" cy="1047067"/>
          </a:xfrm>
          <a:prstGeom prst="rect">
            <a:avLst/>
          </a:prstGeom>
        </p:spPr>
      </p:pic>
      <p:sp>
        <p:nvSpPr>
          <p:cNvPr id="13" name="Oval 142">
            <a:extLst>
              <a:ext uri="{FF2B5EF4-FFF2-40B4-BE49-F238E27FC236}">
                <a16:creationId xmlns:a16="http://schemas.microsoft.com/office/drawing/2014/main" id="{460F3080-CBE8-449B-9F1B-6C442528C320}"/>
              </a:ext>
            </a:extLst>
          </p:cNvPr>
          <p:cNvSpPr/>
          <p:nvPr/>
        </p:nvSpPr>
        <p:spPr>
          <a:xfrm>
            <a:off x="8183317" y="2013056"/>
            <a:ext cx="1289680" cy="1352389"/>
          </a:xfrm>
          <a:prstGeom prst="ellipse">
            <a:avLst/>
          </a:prstGeom>
          <a:noFill/>
          <a:ln w="292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defRPr>
            </a:lvl1pPr>
            <a:lvl2pPr marL="457200" algn="l" defTabSz="914400" rtl="0" eaLnBrk="1" latinLnBrk="0" hangingPunct="1">
              <a:defRPr sz="1800" kern="1200">
                <a:solidFill>
                  <a:srgbClr val="FFFFFF"/>
                </a:solidFill>
              </a:defRPr>
            </a:lvl2pPr>
            <a:lvl3pPr marL="914400" algn="l" defTabSz="914400" rtl="0" eaLnBrk="1" latinLnBrk="0" hangingPunct="1">
              <a:defRPr sz="1800" kern="1200">
                <a:solidFill>
                  <a:srgbClr val="FFFFFF"/>
                </a:solidFill>
              </a:defRPr>
            </a:lvl3pPr>
            <a:lvl4pPr marL="1371600" algn="l" defTabSz="914400" rtl="0" eaLnBrk="1" latinLnBrk="0" hangingPunct="1">
              <a:defRPr sz="1800" kern="1200">
                <a:solidFill>
                  <a:srgbClr val="FFFFFF"/>
                </a:solidFill>
              </a:defRPr>
            </a:lvl4pPr>
            <a:lvl5pPr marL="1828800" algn="l" defTabSz="914400" rtl="0" eaLnBrk="1" latinLnBrk="0" hangingPunct="1">
              <a:defRPr sz="1800" kern="1200">
                <a:solidFill>
                  <a:srgbClr val="FFFFFF"/>
                </a:solidFill>
              </a:defRPr>
            </a:lvl5pPr>
            <a:lvl6pPr marL="2286000" algn="l" defTabSz="914400" rtl="0" eaLnBrk="1" latinLnBrk="0" hangingPunct="1">
              <a:defRPr sz="1800" kern="1200">
                <a:solidFill>
                  <a:srgbClr val="FFFFFF"/>
                </a:solidFill>
              </a:defRPr>
            </a:lvl6pPr>
            <a:lvl7pPr marL="2743200" algn="l" defTabSz="914400" rtl="0" eaLnBrk="1" latinLnBrk="0" hangingPunct="1">
              <a:defRPr sz="1800" kern="1200">
                <a:solidFill>
                  <a:srgbClr val="FFFFFF"/>
                </a:solidFill>
              </a:defRPr>
            </a:lvl7pPr>
            <a:lvl8pPr marL="3200400" algn="l" defTabSz="914400" rtl="0" eaLnBrk="1" latinLnBrk="0" hangingPunct="1">
              <a:defRPr sz="1800" kern="1200">
                <a:solidFill>
                  <a:srgbClr val="FFFFFF"/>
                </a:solidFill>
              </a:defRPr>
            </a:lvl8pPr>
            <a:lvl9pPr marL="3657600" algn="l" defTabSz="914400" rtl="0" eaLnBrk="1" latinLnBrk="0" hangingPunct="1">
              <a:defRPr sz="1800" kern="1200">
                <a:solidFill>
                  <a:srgbClr val="FFFFFF"/>
                </a:solidFill>
              </a:defRPr>
            </a:lvl9pPr>
          </a:lstStyle>
          <a:p>
            <a:pPr algn="ctr"/>
            <a:endParaRPr lang="en-US"/>
          </a:p>
        </p:txBody>
      </p:sp>
      <p:pic>
        <p:nvPicPr>
          <p:cNvPr id="17" name="Billede 16" descr="Et billede, der indeholder Ansigt, smil, briller, portræt&#10;&#10;Automatisk genereret beskrivelse">
            <a:extLst>
              <a:ext uri="{FF2B5EF4-FFF2-40B4-BE49-F238E27FC236}">
                <a16:creationId xmlns:a16="http://schemas.microsoft.com/office/drawing/2014/main" id="{D8C11726-C7E5-2865-9701-2F290D3C6A8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87941" y="2119518"/>
            <a:ext cx="1152000" cy="1152000"/>
          </a:xfrm>
          <a:prstGeom prst="rect">
            <a:avLst/>
          </a:prstGeom>
        </p:spPr>
      </p:pic>
      <p:pic>
        <p:nvPicPr>
          <p:cNvPr id="9" name="Billede 8" descr="Et billede, der indeholder person, Ansigt, tøj, skjorte/bluse/T-shirt&#10;&#10;Automatisk genereret beskrivelse">
            <a:extLst>
              <a:ext uri="{FF2B5EF4-FFF2-40B4-BE49-F238E27FC236}">
                <a16:creationId xmlns:a16="http://schemas.microsoft.com/office/drawing/2014/main" id="{7711E0BC-470D-D8C1-3ADC-AE5B830EBEF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529435" y="2113251"/>
            <a:ext cx="1151998" cy="1151998"/>
          </a:xfrm>
          <a:prstGeom prst="rect">
            <a:avLst/>
          </a:prstGeom>
        </p:spPr>
      </p:pic>
      <p:graphicFrame>
        <p:nvGraphicFramePr>
          <p:cNvPr id="3086" name="Object 3085"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47" imgH="346" progId="TCLayout.ActiveDocument.1">
                  <p:embed/>
                </p:oleObj>
              </mc:Choice>
              <mc:Fallback>
                <p:oleObj name="think-cell Slide" r:id="rId9" imgW="347" imgH="346" progId="TCLayout.ActiveDocument.1">
                  <p:embed/>
                  <p:pic>
                    <p:nvPicPr>
                      <p:cNvPr id="3086" name="Object 3085" hidden="1"/>
                      <p:cNvPicPr/>
                      <p:nvPr/>
                    </p:nvPicPr>
                    <p:blipFill>
                      <a:blip r:embed="rId10"/>
                      <a:stretch>
                        <a:fillRect/>
                      </a:stretch>
                    </p:blipFill>
                    <p:spPr>
                      <a:xfrm>
                        <a:off x="1525588" y="1588"/>
                        <a:ext cx="1588" cy="1588"/>
                      </a:xfrm>
                      <a:prstGeom prst="rect">
                        <a:avLst/>
                      </a:prstGeom>
                    </p:spPr>
                  </p:pic>
                </p:oleObj>
              </mc:Fallback>
            </mc:AlternateContent>
          </a:graphicData>
        </a:graphic>
      </p:graphicFrame>
      <p:sp>
        <p:nvSpPr>
          <p:cNvPr id="34" name="Rectangle 33"/>
          <p:cNvSpPr/>
          <p:nvPr/>
        </p:nvSpPr>
        <p:spPr>
          <a:xfrm>
            <a:off x="3803437" y="-3867"/>
            <a:ext cx="2797453" cy="6857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defRPr>
            </a:lvl1pPr>
            <a:lvl2pPr marL="457200" algn="l" defTabSz="914400" rtl="0" eaLnBrk="1" latinLnBrk="0" hangingPunct="1">
              <a:defRPr sz="1800" kern="1200">
                <a:solidFill>
                  <a:srgbClr val="FFFFFF"/>
                </a:solidFill>
              </a:defRPr>
            </a:lvl2pPr>
            <a:lvl3pPr marL="914400" algn="l" defTabSz="914400" rtl="0" eaLnBrk="1" latinLnBrk="0" hangingPunct="1">
              <a:defRPr sz="1800" kern="1200">
                <a:solidFill>
                  <a:srgbClr val="FFFFFF"/>
                </a:solidFill>
              </a:defRPr>
            </a:lvl3pPr>
            <a:lvl4pPr marL="1371600" algn="l" defTabSz="914400" rtl="0" eaLnBrk="1" latinLnBrk="0" hangingPunct="1">
              <a:defRPr sz="1800" kern="1200">
                <a:solidFill>
                  <a:srgbClr val="FFFFFF"/>
                </a:solidFill>
              </a:defRPr>
            </a:lvl4pPr>
            <a:lvl5pPr marL="1828800" algn="l" defTabSz="914400" rtl="0" eaLnBrk="1" latinLnBrk="0" hangingPunct="1">
              <a:defRPr sz="1800" kern="1200">
                <a:solidFill>
                  <a:srgbClr val="FFFFFF"/>
                </a:solidFill>
              </a:defRPr>
            </a:lvl5pPr>
            <a:lvl6pPr marL="2286000" algn="l" defTabSz="914400" rtl="0" eaLnBrk="1" latinLnBrk="0" hangingPunct="1">
              <a:defRPr sz="1800" kern="1200">
                <a:solidFill>
                  <a:srgbClr val="FFFFFF"/>
                </a:solidFill>
              </a:defRPr>
            </a:lvl6pPr>
            <a:lvl7pPr marL="2743200" algn="l" defTabSz="914400" rtl="0" eaLnBrk="1" latinLnBrk="0" hangingPunct="1">
              <a:defRPr sz="1800" kern="1200">
                <a:solidFill>
                  <a:srgbClr val="FFFFFF"/>
                </a:solidFill>
              </a:defRPr>
            </a:lvl7pPr>
            <a:lvl8pPr marL="3200400" algn="l" defTabSz="914400" rtl="0" eaLnBrk="1" latinLnBrk="0" hangingPunct="1">
              <a:defRPr sz="1800" kern="1200">
                <a:solidFill>
                  <a:srgbClr val="FFFFFF"/>
                </a:solidFill>
              </a:defRPr>
            </a:lvl8pPr>
            <a:lvl9pPr marL="3657600" algn="l" defTabSz="914400" rtl="0" eaLnBrk="1" latinLnBrk="0" hangingPunct="1">
              <a:defRPr sz="1800" kern="1200">
                <a:solidFill>
                  <a:srgbClr val="FFFFFF"/>
                </a:solidFill>
              </a:defRPr>
            </a:lvl9pPr>
          </a:lstStyle>
          <a:p>
            <a:pPr algn="ctr"/>
            <a:endParaRPr lang="nl-NL"/>
          </a:p>
        </p:txBody>
      </p:sp>
      <p:sp>
        <p:nvSpPr>
          <p:cNvPr id="87" name="Rectangle 86"/>
          <p:cNvSpPr/>
          <p:nvPr/>
        </p:nvSpPr>
        <p:spPr>
          <a:xfrm>
            <a:off x="6597096" y="0"/>
            <a:ext cx="2797453" cy="46164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defRPr>
            </a:lvl1pPr>
            <a:lvl2pPr marL="457200" algn="l" defTabSz="914400" rtl="0" eaLnBrk="1" latinLnBrk="0" hangingPunct="1">
              <a:defRPr sz="1800" kern="1200">
                <a:solidFill>
                  <a:srgbClr val="FFFFFF"/>
                </a:solidFill>
              </a:defRPr>
            </a:lvl2pPr>
            <a:lvl3pPr marL="914400" algn="l" defTabSz="914400" rtl="0" eaLnBrk="1" latinLnBrk="0" hangingPunct="1">
              <a:defRPr sz="1800" kern="1200">
                <a:solidFill>
                  <a:srgbClr val="FFFFFF"/>
                </a:solidFill>
              </a:defRPr>
            </a:lvl3pPr>
            <a:lvl4pPr marL="1371600" algn="l" defTabSz="914400" rtl="0" eaLnBrk="1" latinLnBrk="0" hangingPunct="1">
              <a:defRPr sz="1800" kern="1200">
                <a:solidFill>
                  <a:srgbClr val="FFFFFF"/>
                </a:solidFill>
              </a:defRPr>
            </a:lvl4pPr>
            <a:lvl5pPr marL="1828800" algn="l" defTabSz="914400" rtl="0" eaLnBrk="1" latinLnBrk="0" hangingPunct="1">
              <a:defRPr sz="1800" kern="1200">
                <a:solidFill>
                  <a:srgbClr val="FFFFFF"/>
                </a:solidFill>
              </a:defRPr>
            </a:lvl5pPr>
            <a:lvl6pPr marL="2286000" algn="l" defTabSz="914400" rtl="0" eaLnBrk="1" latinLnBrk="0" hangingPunct="1">
              <a:defRPr sz="1800" kern="1200">
                <a:solidFill>
                  <a:srgbClr val="FFFFFF"/>
                </a:solidFill>
              </a:defRPr>
            </a:lvl6pPr>
            <a:lvl7pPr marL="2743200" algn="l" defTabSz="914400" rtl="0" eaLnBrk="1" latinLnBrk="0" hangingPunct="1">
              <a:defRPr sz="1800" kern="1200">
                <a:solidFill>
                  <a:srgbClr val="FFFFFF"/>
                </a:solidFill>
              </a:defRPr>
            </a:lvl7pPr>
            <a:lvl8pPr marL="3200400" algn="l" defTabSz="914400" rtl="0" eaLnBrk="1" latinLnBrk="0" hangingPunct="1">
              <a:defRPr sz="1800" kern="1200">
                <a:solidFill>
                  <a:srgbClr val="FFFFFF"/>
                </a:solidFill>
              </a:defRPr>
            </a:lvl8pPr>
            <a:lvl9pPr marL="3657600" algn="l" defTabSz="914400" rtl="0" eaLnBrk="1" latinLnBrk="0" hangingPunct="1">
              <a:defRPr sz="1800" kern="1200">
                <a:solidFill>
                  <a:srgbClr val="FFFFFF"/>
                </a:solidFill>
              </a:defRPr>
            </a:lvl9pPr>
          </a:lstStyle>
          <a:p>
            <a:pPr algn="ctr"/>
            <a:endParaRPr lang="nl-NL"/>
          </a:p>
        </p:txBody>
      </p:sp>
      <p:sp>
        <p:nvSpPr>
          <p:cNvPr id="7" name="TextBox 6"/>
          <p:cNvSpPr txBox="1"/>
          <p:nvPr/>
        </p:nvSpPr>
        <p:spPr>
          <a:xfrm>
            <a:off x="0" y="510768"/>
            <a:ext cx="12192000" cy="923330"/>
          </a:xfrm>
          <a:prstGeom prst="rect">
            <a:avLst/>
          </a:prstGeom>
          <a:noFill/>
        </p:spPr>
        <p:txBody>
          <a:bodyPr wrap="square" lIns="0" tIns="0" rIns="0" bIns="0" rtlCol="0" anchor="t">
            <a:sp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da-DK" sz="6000">
                <a:solidFill>
                  <a:srgbClr val="C8171E"/>
                </a:solidFill>
              </a:rPr>
              <a:t>Vi er her for at hjælpe!</a:t>
            </a:r>
            <a:endParaRPr lang="da-DK" sz="6000" b="1">
              <a:solidFill>
                <a:srgbClr val="C8171E"/>
              </a:solidFill>
            </a:endParaRPr>
          </a:p>
        </p:txBody>
      </p:sp>
      <p:sp>
        <p:nvSpPr>
          <p:cNvPr id="39" name="TextBox 38"/>
          <p:cNvSpPr txBox="1"/>
          <p:nvPr/>
        </p:nvSpPr>
        <p:spPr>
          <a:xfrm>
            <a:off x="2306234" y="3648581"/>
            <a:ext cx="1598400" cy="492443"/>
          </a:xfrm>
          <a:prstGeom prst="rect">
            <a:avLst/>
          </a:prstGeom>
          <a:noFill/>
          <a:effectLst/>
        </p:spPr>
        <p:txBody>
          <a:bodyPr wrap="square" lIns="0" tIns="0" rIns="0" bIns="0" rtlCol="0" anchor="t">
            <a:sp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sz="2000" b="1">
                <a:solidFill>
                  <a:schemeClr val="accent1"/>
                </a:solidFill>
              </a:rPr>
              <a:t>Jakob</a:t>
            </a:r>
          </a:p>
          <a:p>
            <a:pPr algn="ctr"/>
            <a:r>
              <a:rPr lang="en-US" sz="1200" b="1">
                <a:solidFill>
                  <a:schemeClr val="accent1"/>
                </a:solidFill>
              </a:rPr>
              <a:t>August 2019</a:t>
            </a:r>
          </a:p>
        </p:txBody>
      </p:sp>
      <p:sp>
        <p:nvSpPr>
          <p:cNvPr id="111" name="TextBox 110"/>
          <p:cNvSpPr txBox="1"/>
          <p:nvPr/>
        </p:nvSpPr>
        <p:spPr>
          <a:xfrm>
            <a:off x="5103688" y="3648581"/>
            <a:ext cx="1598400" cy="492443"/>
          </a:xfrm>
          <a:prstGeom prst="rect">
            <a:avLst/>
          </a:prstGeom>
          <a:noFill/>
          <a:effectLst/>
        </p:spPr>
        <p:txBody>
          <a:bodyPr wrap="square" lIns="0" tIns="0" rIns="0" bIns="0" rtlCol="0" anchor="t">
            <a:sp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sz="2000" b="1">
                <a:solidFill>
                  <a:srgbClr val="C00000"/>
                </a:solidFill>
              </a:rPr>
              <a:t>René</a:t>
            </a:r>
          </a:p>
          <a:p>
            <a:pPr algn="ctr"/>
            <a:r>
              <a:rPr lang="en-US" sz="1200" b="1">
                <a:solidFill>
                  <a:schemeClr val="accent1"/>
                </a:solidFill>
              </a:rPr>
              <a:t>Maj 2022</a:t>
            </a:r>
          </a:p>
        </p:txBody>
      </p:sp>
      <p:sp>
        <p:nvSpPr>
          <p:cNvPr id="122" name="TextBox 121"/>
          <p:cNvSpPr txBox="1"/>
          <p:nvPr/>
        </p:nvSpPr>
        <p:spPr>
          <a:xfrm>
            <a:off x="7901140" y="3648581"/>
            <a:ext cx="1598400" cy="492443"/>
          </a:xfrm>
          <a:prstGeom prst="rect">
            <a:avLst/>
          </a:prstGeom>
          <a:noFill/>
          <a:effectLst/>
        </p:spPr>
        <p:txBody>
          <a:bodyPr wrap="square" lIns="0" tIns="0" rIns="0" bIns="0" rtlCol="0" anchor="t">
            <a:sp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sz="2000" b="1">
                <a:solidFill>
                  <a:srgbClr val="C00000"/>
                </a:solidFill>
              </a:rPr>
              <a:t>Bjarne</a:t>
            </a:r>
          </a:p>
          <a:p>
            <a:pPr algn="ctr"/>
            <a:r>
              <a:rPr lang="en-US" sz="1200" b="1">
                <a:solidFill>
                  <a:srgbClr val="C00000"/>
                </a:solidFill>
              </a:rPr>
              <a:t>Marts 2023</a:t>
            </a:r>
            <a:endParaRPr lang="nl-NL" sz="1200" b="1">
              <a:solidFill>
                <a:srgbClr val="C00000"/>
              </a:solidFill>
            </a:endParaRPr>
          </a:p>
        </p:txBody>
      </p:sp>
      <p:sp>
        <p:nvSpPr>
          <p:cNvPr id="143" name="Oval 142">
            <a:extLst>
              <a:ext uri="{FF2B5EF4-FFF2-40B4-BE49-F238E27FC236}">
                <a16:creationId xmlns:a16="http://schemas.microsoft.com/office/drawing/2014/main" id="{218F7D16-A865-4F5A-BAA9-8E26FB7BC986}"/>
              </a:ext>
            </a:extLst>
          </p:cNvPr>
          <p:cNvSpPr/>
          <p:nvPr/>
        </p:nvSpPr>
        <p:spPr>
          <a:xfrm>
            <a:off x="2447077" y="2013056"/>
            <a:ext cx="1289680" cy="1352389"/>
          </a:xfrm>
          <a:prstGeom prst="ellipse">
            <a:avLst/>
          </a:prstGeom>
          <a:noFill/>
          <a:ln w="292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defRPr>
            </a:lvl1pPr>
            <a:lvl2pPr marL="457200" algn="l" defTabSz="914400" rtl="0" eaLnBrk="1" latinLnBrk="0" hangingPunct="1">
              <a:defRPr sz="1800" kern="1200">
                <a:solidFill>
                  <a:srgbClr val="FFFFFF"/>
                </a:solidFill>
              </a:defRPr>
            </a:lvl2pPr>
            <a:lvl3pPr marL="914400" algn="l" defTabSz="914400" rtl="0" eaLnBrk="1" latinLnBrk="0" hangingPunct="1">
              <a:defRPr sz="1800" kern="1200">
                <a:solidFill>
                  <a:srgbClr val="FFFFFF"/>
                </a:solidFill>
              </a:defRPr>
            </a:lvl3pPr>
            <a:lvl4pPr marL="1371600" algn="l" defTabSz="914400" rtl="0" eaLnBrk="1" latinLnBrk="0" hangingPunct="1">
              <a:defRPr sz="1800" kern="1200">
                <a:solidFill>
                  <a:srgbClr val="FFFFFF"/>
                </a:solidFill>
              </a:defRPr>
            </a:lvl4pPr>
            <a:lvl5pPr marL="1828800" algn="l" defTabSz="914400" rtl="0" eaLnBrk="1" latinLnBrk="0" hangingPunct="1">
              <a:defRPr sz="1800" kern="1200">
                <a:solidFill>
                  <a:srgbClr val="FFFFFF"/>
                </a:solidFill>
              </a:defRPr>
            </a:lvl5pPr>
            <a:lvl6pPr marL="2286000" algn="l" defTabSz="914400" rtl="0" eaLnBrk="1" latinLnBrk="0" hangingPunct="1">
              <a:defRPr sz="1800" kern="1200">
                <a:solidFill>
                  <a:srgbClr val="FFFFFF"/>
                </a:solidFill>
              </a:defRPr>
            </a:lvl6pPr>
            <a:lvl7pPr marL="2743200" algn="l" defTabSz="914400" rtl="0" eaLnBrk="1" latinLnBrk="0" hangingPunct="1">
              <a:defRPr sz="1800" kern="1200">
                <a:solidFill>
                  <a:srgbClr val="FFFFFF"/>
                </a:solidFill>
              </a:defRPr>
            </a:lvl7pPr>
            <a:lvl8pPr marL="3200400" algn="l" defTabSz="914400" rtl="0" eaLnBrk="1" latinLnBrk="0" hangingPunct="1">
              <a:defRPr sz="1800" kern="1200">
                <a:solidFill>
                  <a:srgbClr val="FFFFFF"/>
                </a:solidFill>
              </a:defRPr>
            </a:lvl8pPr>
            <a:lvl9pPr marL="3657600" algn="l" defTabSz="914400" rtl="0" eaLnBrk="1" latinLnBrk="0" hangingPunct="1">
              <a:defRPr sz="1800" kern="1200">
                <a:solidFill>
                  <a:srgbClr val="FFFFFF"/>
                </a:solidFill>
              </a:defRPr>
            </a:lvl9pPr>
          </a:lstStyle>
          <a:p>
            <a:pPr algn="ctr"/>
            <a:endParaRPr lang="en-US"/>
          </a:p>
        </p:txBody>
      </p:sp>
      <p:sp>
        <p:nvSpPr>
          <p:cNvPr id="6" name="Rectangle 5">
            <a:extLst>
              <a:ext uri="{FF2B5EF4-FFF2-40B4-BE49-F238E27FC236}">
                <a16:creationId xmlns:a16="http://schemas.microsoft.com/office/drawing/2014/main" id="{71233063-0293-E586-9AC1-3F449052A288}"/>
              </a:ext>
            </a:extLst>
          </p:cNvPr>
          <p:cNvSpPr/>
          <p:nvPr>
            <p:custDataLst>
              <p:tags r:id="rId3"/>
            </p:custDataLst>
          </p:nvPr>
        </p:nvSpPr>
        <p:spPr>
          <a:xfrm>
            <a:off x="0" y="4616450"/>
            <a:ext cx="12195795" cy="2245414"/>
          </a:xfrm>
          <a:prstGeom prst="rect">
            <a:avLst/>
          </a:prstGeom>
          <a:solidFill>
            <a:srgbClr val="C00000"/>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800" b="1">
                <a:solidFill>
                  <a:schemeClr val="bg2"/>
                </a:solidFill>
                <a:hlinkClick r:id="rId11">
                  <a:extLst>
                    <a:ext uri="{A12FA001-AC4F-418D-AE19-62706E023703}">
                      <ahyp:hlinkClr xmlns:ahyp="http://schemas.microsoft.com/office/drawing/2018/hyperlinkcolor" val="tx"/>
                    </a:ext>
                  </a:extLst>
                </a:hlinkClick>
              </a:rPr>
              <a:t>afdregnskab@rodekors.dk</a:t>
            </a:r>
            <a:endParaRPr lang="en-US" sz="1800" b="1">
              <a:solidFill>
                <a:schemeClr val="bg2"/>
              </a:solidFill>
            </a:endParaRPr>
          </a:p>
          <a:p>
            <a:pPr algn="ctr"/>
            <a:endParaRPr lang="en-US" sz="1800" b="1">
              <a:solidFill>
                <a:schemeClr val="bg2"/>
              </a:solidFill>
            </a:endParaRPr>
          </a:p>
          <a:p>
            <a:pPr algn="ctr"/>
            <a:r>
              <a:rPr lang="en-US" b="1">
                <a:solidFill>
                  <a:schemeClr val="bg2"/>
                </a:solidFill>
              </a:rPr>
              <a:t>+45 35 29 94 20</a:t>
            </a:r>
            <a:endParaRPr lang="da-DK">
              <a:solidFill>
                <a:schemeClr val="bg2"/>
              </a:solidFill>
            </a:endParaRPr>
          </a:p>
        </p:txBody>
      </p:sp>
      <p:pic>
        <p:nvPicPr>
          <p:cNvPr id="3" name="Graphic 2">
            <a:extLst>
              <a:ext uri="{FF2B5EF4-FFF2-40B4-BE49-F238E27FC236}">
                <a16:creationId xmlns:a16="http://schemas.microsoft.com/office/drawing/2014/main" id="{4CC148B6-C5BD-F33B-BA02-A359BC94139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579795" y="5301123"/>
            <a:ext cx="447283" cy="447283"/>
          </a:xfrm>
          <a:prstGeom prst="rect">
            <a:avLst/>
          </a:prstGeom>
        </p:spPr>
      </p:pic>
      <p:pic>
        <p:nvPicPr>
          <p:cNvPr id="4" name="Graphic 3">
            <a:extLst>
              <a:ext uri="{FF2B5EF4-FFF2-40B4-BE49-F238E27FC236}">
                <a16:creationId xmlns:a16="http://schemas.microsoft.com/office/drawing/2014/main" id="{AC60546E-CF7B-74E2-F27A-4DBA8CE0C7E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549771" y="5748406"/>
            <a:ext cx="507330" cy="507330"/>
          </a:xfrm>
          <a:prstGeom prst="rect">
            <a:avLst/>
          </a:prstGeom>
        </p:spPr>
      </p:pic>
      <p:sp>
        <p:nvSpPr>
          <p:cNvPr id="8" name="Footer Placeholder 3">
            <a:extLst>
              <a:ext uri="{FF2B5EF4-FFF2-40B4-BE49-F238E27FC236}">
                <a16:creationId xmlns:a16="http://schemas.microsoft.com/office/drawing/2014/main" id="{0CF734FC-024B-F917-21B4-B0EC0B8164FC}"/>
              </a:ext>
            </a:extLst>
          </p:cNvPr>
          <p:cNvSpPr txBox="1">
            <a:spLocks/>
          </p:cNvSpPr>
          <p:nvPr/>
        </p:nvSpPr>
        <p:spPr>
          <a:xfrm>
            <a:off x="838200" y="6513030"/>
            <a:ext cx="10515599" cy="237600"/>
          </a:xfrm>
          <a:prstGeom prst="rect">
            <a:avLst/>
          </a:prstGeom>
        </p:spPr>
        <p:txBody>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800" dirty="0"/>
              <a:t>RØDE KORS / Introduktionskursus for nye kasserere / 2025</a:t>
            </a:r>
          </a:p>
        </p:txBody>
      </p:sp>
      <p:sp>
        <p:nvSpPr>
          <p:cNvPr id="11" name="Oval 142">
            <a:extLst>
              <a:ext uri="{FF2B5EF4-FFF2-40B4-BE49-F238E27FC236}">
                <a16:creationId xmlns:a16="http://schemas.microsoft.com/office/drawing/2014/main" id="{8B834888-E45F-BAE9-1279-488EAB2AF4A7}"/>
              </a:ext>
            </a:extLst>
          </p:cNvPr>
          <p:cNvSpPr/>
          <p:nvPr/>
        </p:nvSpPr>
        <p:spPr>
          <a:xfrm>
            <a:off x="5315197" y="2013056"/>
            <a:ext cx="1289680" cy="1352389"/>
          </a:xfrm>
          <a:prstGeom prst="ellipse">
            <a:avLst/>
          </a:prstGeom>
          <a:noFill/>
          <a:ln w="292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defRPr>
            </a:lvl1pPr>
            <a:lvl2pPr marL="457200" algn="l" defTabSz="914400" rtl="0" eaLnBrk="1" latinLnBrk="0" hangingPunct="1">
              <a:defRPr sz="1800" kern="1200">
                <a:solidFill>
                  <a:srgbClr val="FFFFFF"/>
                </a:solidFill>
              </a:defRPr>
            </a:lvl2pPr>
            <a:lvl3pPr marL="914400" algn="l" defTabSz="914400" rtl="0" eaLnBrk="1" latinLnBrk="0" hangingPunct="1">
              <a:defRPr sz="1800" kern="1200">
                <a:solidFill>
                  <a:srgbClr val="FFFFFF"/>
                </a:solidFill>
              </a:defRPr>
            </a:lvl3pPr>
            <a:lvl4pPr marL="1371600" algn="l" defTabSz="914400" rtl="0" eaLnBrk="1" latinLnBrk="0" hangingPunct="1">
              <a:defRPr sz="1800" kern="1200">
                <a:solidFill>
                  <a:srgbClr val="FFFFFF"/>
                </a:solidFill>
              </a:defRPr>
            </a:lvl4pPr>
            <a:lvl5pPr marL="1828800" algn="l" defTabSz="914400" rtl="0" eaLnBrk="1" latinLnBrk="0" hangingPunct="1">
              <a:defRPr sz="1800" kern="1200">
                <a:solidFill>
                  <a:srgbClr val="FFFFFF"/>
                </a:solidFill>
              </a:defRPr>
            </a:lvl5pPr>
            <a:lvl6pPr marL="2286000" algn="l" defTabSz="914400" rtl="0" eaLnBrk="1" latinLnBrk="0" hangingPunct="1">
              <a:defRPr sz="1800" kern="1200">
                <a:solidFill>
                  <a:srgbClr val="FFFFFF"/>
                </a:solidFill>
              </a:defRPr>
            </a:lvl6pPr>
            <a:lvl7pPr marL="2743200" algn="l" defTabSz="914400" rtl="0" eaLnBrk="1" latinLnBrk="0" hangingPunct="1">
              <a:defRPr sz="1800" kern="1200">
                <a:solidFill>
                  <a:srgbClr val="FFFFFF"/>
                </a:solidFill>
              </a:defRPr>
            </a:lvl7pPr>
            <a:lvl8pPr marL="3200400" algn="l" defTabSz="914400" rtl="0" eaLnBrk="1" latinLnBrk="0" hangingPunct="1">
              <a:defRPr sz="1800" kern="1200">
                <a:solidFill>
                  <a:srgbClr val="FFFFFF"/>
                </a:solidFill>
              </a:defRPr>
            </a:lvl8pPr>
            <a:lvl9pPr marL="3657600" algn="l" defTabSz="914400" rtl="0" eaLnBrk="1" latinLnBrk="0" hangingPunct="1">
              <a:defRPr sz="1800" kern="1200">
                <a:solidFill>
                  <a:srgbClr val="FFFFFF"/>
                </a:solidFill>
              </a:defRPr>
            </a:lvl9pPr>
          </a:lstStyle>
          <a:p>
            <a:pPr algn="ctr"/>
            <a:endParaRPr lang="en-US"/>
          </a:p>
        </p:txBody>
      </p:sp>
    </p:spTree>
    <p:custDataLst>
      <p:tags r:id="rId1"/>
    </p:custDataLst>
    <p:extLst>
      <p:ext uri="{BB962C8B-B14F-4D97-AF65-F5344CB8AC3E}">
        <p14:creationId xmlns:p14="http://schemas.microsoft.com/office/powerpoint/2010/main" val="2273837152"/>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86" name="Object 3085"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6" progId="TCLayout.ActiveDocument.1">
                  <p:embed/>
                </p:oleObj>
              </mc:Choice>
              <mc:Fallback>
                <p:oleObj name="think-cell Slide" r:id="rId6" imgW="347" imgH="346" progId="TCLayout.ActiveDocument.1">
                  <p:embed/>
                  <p:pic>
                    <p:nvPicPr>
                      <p:cNvPr id="3086" name="Object 3085"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34" name="Rectangle 33"/>
          <p:cNvSpPr/>
          <p:nvPr/>
        </p:nvSpPr>
        <p:spPr>
          <a:xfrm>
            <a:off x="3803437" y="-3867"/>
            <a:ext cx="2797453" cy="6857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defRPr>
            </a:lvl1pPr>
            <a:lvl2pPr marL="457200" algn="l" defTabSz="914400" rtl="0" eaLnBrk="1" latinLnBrk="0" hangingPunct="1">
              <a:defRPr sz="1800" kern="1200">
                <a:solidFill>
                  <a:srgbClr val="FFFFFF"/>
                </a:solidFill>
              </a:defRPr>
            </a:lvl2pPr>
            <a:lvl3pPr marL="914400" algn="l" defTabSz="914400" rtl="0" eaLnBrk="1" latinLnBrk="0" hangingPunct="1">
              <a:defRPr sz="1800" kern="1200">
                <a:solidFill>
                  <a:srgbClr val="FFFFFF"/>
                </a:solidFill>
              </a:defRPr>
            </a:lvl3pPr>
            <a:lvl4pPr marL="1371600" algn="l" defTabSz="914400" rtl="0" eaLnBrk="1" latinLnBrk="0" hangingPunct="1">
              <a:defRPr sz="1800" kern="1200">
                <a:solidFill>
                  <a:srgbClr val="FFFFFF"/>
                </a:solidFill>
              </a:defRPr>
            </a:lvl4pPr>
            <a:lvl5pPr marL="1828800" algn="l" defTabSz="914400" rtl="0" eaLnBrk="1" latinLnBrk="0" hangingPunct="1">
              <a:defRPr sz="1800" kern="1200">
                <a:solidFill>
                  <a:srgbClr val="FFFFFF"/>
                </a:solidFill>
              </a:defRPr>
            </a:lvl5pPr>
            <a:lvl6pPr marL="2286000" algn="l" defTabSz="914400" rtl="0" eaLnBrk="1" latinLnBrk="0" hangingPunct="1">
              <a:defRPr sz="1800" kern="1200">
                <a:solidFill>
                  <a:srgbClr val="FFFFFF"/>
                </a:solidFill>
              </a:defRPr>
            </a:lvl6pPr>
            <a:lvl7pPr marL="2743200" algn="l" defTabSz="914400" rtl="0" eaLnBrk="1" latinLnBrk="0" hangingPunct="1">
              <a:defRPr sz="1800" kern="1200">
                <a:solidFill>
                  <a:srgbClr val="FFFFFF"/>
                </a:solidFill>
              </a:defRPr>
            </a:lvl7pPr>
            <a:lvl8pPr marL="3200400" algn="l" defTabSz="914400" rtl="0" eaLnBrk="1" latinLnBrk="0" hangingPunct="1">
              <a:defRPr sz="1800" kern="1200">
                <a:solidFill>
                  <a:srgbClr val="FFFFFF"/>
                </a:solidFill>
              </a:defRPr>
            </a:lvl8pPr>
            <a:lvl9pPr marL="3657600" algn="l" defTabSz="914400" rtl="0" eaLnBrk="1" latinLnBrk="0" hangingPunct="1">
              <a:defRPr sz="1800" kern="1200">
                <a:solidFill>
                  <a:srgbClr val="FFFFFF"/>
                </a:solidFill>
              </a:defRPr>
            </a:lvl9pPr>
          </a:lstStyle>
          <a:p>
            <a:pPr algn="ctr"/>
            <a:endParaRPr lang="nl-NL"/>
          </a:p>
        </p:txBody>
      </p:sp>
      <p:sp>
        <p:nvSpPr>
          <p:cNvPr id="87" name="Rectangle 86"/>
          <p:cNvSpPr/>
          <p:nvPr/>
        </p:nvSpPr>
        <p:spPr>
          <a:xfrm>
            <a:off x="6597096" y="0"/>
            <a:ext cx="2797453" cy="46164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defRPr>
            </a:lvl1pPr>
            <a:lvl2pPr marL="457200" algn="l" defTabSz="914400" rtl="0" eaLnBrk="1" latinLnBrk="0" hangingPunct="1">
              <a:defRPr sz="1800" kern="1200">
                <a:solidFill>
                  <a:srgbClr val="FFFFFF"/>
                </a:solidFill>
              </a:defRPr>
            </a:lvl2pPr>
            <a:lvl3pPr marL="914400" algn="l" defTabSz="914400" rtl="0" eaLnBrk="1" latinLnBrk="0" hangingPunct="1">
              <a:defRPr sz="1800" kern="1200">
                <a:solidFill>
                  <a:srgbClr val="FFFFFF"/>
                </a:solidFill>
              </a:defRPr>
            </a:lvl3pPr>
            <a:lvl4pPr marL="1371600" algn="l" defTabSz="914400" rtl="0" eaLnBrk="1" latinLnBrk="0" hangingPunct="1">
              <a:defRPr sz="1800" kern="1200">
                <a:solidFill>
                  <a:srgbClr val="FFFFFF"/>
                </a:solidFill>
              </a:defRPr>
            </a:lvl4pPr>
            <a:lvl5pPr marL="1828800" algn="l" defTabSz="914400" rtl="0" eaLnBrk="1" latinLnBrk="0" hangingPunct="1">
              <a:defRPr sz="1800" kern="1200">
                <a:solidFill>
                  <a:srgbClr val="FFFFFF"/>
                </a:solidFill>
              </a:defRPr>
            </a:lvl5pPr>
            <a:lvl6pPr marL="2286000" algn="l" defTabSz="914400" rtl="0" eaLnBrk="1" latinLnBrk="0" hangingPunct="1">
              <a:defRPr sz="1800" kern="1200">
                <a:solidFill>
                  <a:srgbClr val="FFFFFF"/>
                </a:solidFill>
              </a:defRPr>
            </a:lvl6pPr>
            <a:lvl7pPr marL="2743200" algn="l" defTabSz="914400" rtl="0" eaLnBrk="1" latinLnBrk="0" hangingPunct="1">
              <a:defRPr sz="1800" kern="1200">
                <a:solidFill>
                  <a:srgbClr val="FFFFFF"/>
                </a:solidFill>
              </a:defRPr>
            </a:lvl7pPr>
            <a:lvl8pPr marL="3200400" algn="l" defTabSz="914400" rtl="0" eaLnBrk="1" latinLnBrk="0" hangingPunct="1">
              <a:defRPr sz="1800" kern="1200">
                <a:solidFill>
                  <a:srgbClr val="FFFFFF"/>
                </a:solidFill>
              </a:defRPr>
            </a:lvl8pPr>
            <a:lvl9pPr marL="3657600" algn="l" defTabSz="914400" rtl="0" eaLnBrk="1" latinLnBrk="0" hangingPunct="1">
              <a:defRPr sz="1800" kern="1200">
                <a:solidFill>
                  <a:srgbClr val="FFFFFF"/>
                </a:solidFill>
              </a:defRPr>
            </a:lvl9pPr>
          </a:lstStyle>
          <a:p>
            <a:pPr algn="ctr"/>
            <a:endParaRPr lang="nl-NL"/>
          </a:p>
        </p:txBody>
      </p:sp>
      <p:sp>
        <p:nvSpPr>
          <p:cNvPr id="6" name="Rectangle 5">
            <a:extLst>
              <a:ext uri="{FF2B5EF4-FFF2-40B4-BE49-F238E27FC236}">
                <a16:creationId xmlns:a16="http://schemas.microsoft.com/office/drawing/2014/main" id="{71233063-0293-E586-9AC1-3F449052A288}"/>
              </a:ext>
            </a:extLst>
          </p:cNvPr>
          <p:cNvSpPr/>
          <p:nvPr>
            <p:custDataLst>
              <p:tags r:id="rId3"/>
            </p:custDataLst>
          </p:nvPr>
        </p:nvSpPr>
        <p:spPr>
          <a:xfrm>
            <a:off x="0" y="4616450"/>
            <a:ext cx="12195795" cy="2245414"/>
          </a:xfrm>
          <a:prstGeom prst="rect">
            <a:avLst/>
          </a:prstGeom>
          <a:solidFill>
            <a:srgbClr val="C00000"/>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800" b="1" dirty="0">
                <a:solidFill>
                  <a:schemeClr val="bg2"/>
                </a:solidFill>
                <a:hlinkClick r:id="rId8">
                  <a:extLst>
                    <a:ext uri="{A12FA001-AC4F-418D-AE19-62706E023703}">
                      <ahyp:hlinkClr xmlns:ahyp="http://schemas.microsoft.com/office/drawing/2018/hyperlinkcolor" val="tx"/>
                    </a:ext>
                  </a:extLst>
                </a:hlinkClick>
              </a:rPr>
              <a:t>afdregnskab@rodekors.dk</a:t>
            </a:r>
            <a:endParaRPr lang="en-US" sz="1800" b="1" dirty="0">
              <a:solidFill>
                <a:schemeClr val="bg2"/>
              </a:solidFill>
            </a:endParaRPr>
          </a:p>
          <a:p>
            <a:pPr algn="ctr"/>
            <a:endParaRPr lang="en-US" sz="1800" b="1" dirty="0">
              <a:solidFill>
                <a:schemeClr val="bg2"/>
              </a:solidFill>
            </a:endParaRPr>
          </a:p>
          <a:p>
            <a:pPr algn="ctr"/>
            <a:r>
              <a:rPr lang="en-US" b="1" dirty="0">
                <a:solidFill>
                  <a:schemeClr val="bg2"/>
                </a:solidFill>
              </a:rPr>
              <a:t>+45 35 29 94 20</a:t>
            </a:r>
            <a:endParaRPr lang="da-DK" dirty="0">
              <a:solidFill>
                <a:schemeClr val="bg2"/>
              </a:solidFill>
            </a:endParaRPr>
          </a:p>
        </p:txBody>
      </p:sp>
      <p:pic>
        <p:nvPicPr>
          <p:cNvPr id="3" name="Graphic 2">
            <a:extLst>
              <a:ext uri="{FF2B5EF4-FFF2-40B4-BE49-F238E27FC236}">
                <a16:creationId xmlns:a16="http://schemas.microsoft.com/office/drawing/2014/main" id="{4CC148B6-C5BD-F33B-BA02-A359BC94139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579795" y="5301123"/>
            <a:ext cx="447283" cy="447283"/>
          </a:xfrm>
          <a:prstGeom prst="rect">
            <a:avLst/>
          </a:prstGeom>
        </p:spPr>
      </p:pic>
      <p:pic>
        <p:nvPicPr>
          <p:cNvPr id="4" name="Graphic 3">
            <a:extLst>
              <a:ext uri="{FF2B5EF4-FFF2-40B4-BE49-F238E27FC236}">
                <a16:creationId xmlns:a16="http://schemas.microsoft.com/office/drawing/2014/main" id="{AC60546E-CF7B-74E2-F27A-4DBA8CE0C7E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549771" y="5748406"/>
            <a:ext cx="507330" cy="507330"/>
          </a:xfrm>
          <a:prstGeom prst="rect">
            <a:avLst/>
          </a:prstGeom>
        </p:spPr>
      </p:pic>
      <p:sp>
        <p:nvSpPr>
          <p:cNvPr id="2" name="Tekstfelt 13">
            <a:extLst>
              <a:ext uri="{FF2B5EF4-FFF2-40B4-BE49-F238E27FC236}">
                <a16:creationId xmlns:a16="http://schemas.microsoft.com/office/drawing/2014/main" id="{9758BC63-0D0B-0FBB-DE03-9A04E586443F}"/>
              </a:ext>
            </a:extLst>
          </p:cNvPr>
          <p:cNvSpPr txBox="1"/>
          <p:nvPr/>
        </p:nvSpPr>
        <p:spPr>
          <a:xfrm>
            <a:off x="970658" y="602264"/>
            <a:ext cx="10250681" cy="3600986"/>
          </a:xfrm>
          <a:prstGeom prst="rect">
            <a:avLst/>
          </a:prstGeom>
          <a:noFill/>
        </p:spPr>
        <p:txBody>
          <a:bodyPr wrap="square" rtlCol="0">
            <a:spAutoFit/>
          </a:bodyPr>
          <a:lstStyle/>
          <a:p>
            <a:pPr algn="ctr"/>
            <a:endParaRPr lang="da-DK" sz="3200" b="1" dirty="0">
              <a:solidFill>
                <a:srgbClr val="C01333"/>
              </a:solidFill>
            </a:endParaRPr>
          </a:p>
          <a:p>
            <a:pPr algn="ctr"/>
            <a:r>
              <a:rPr lang="da-DK" sz="6000" b="1" dirty="0">
                <a:solidFill>
                  <a:srgbClr val="C01333"/>
                </a:solidFill>
              </a:rPr>
              <a:t>Deltagere</a:t>
            </a:r>
          </a:p>
          <a:p>
            <a:pPr algn="ctr"/>
            <a:endParaRPr lang="da-DK" sz="3200" b="1" dirty="0">
              <a:solidFill>
                <a:srgbClr val="C01333"/>
              </a:solidFill>
            </a:endParaRPr>
          </a:p>
          <a:p>
            <a:pPr algn="ctr"/>
            <a:r>
              <a:rPr lang="da-DK" sz="4000" b="1" dirty="0">
                <a:solidFill>
                  <a:srgbClr val="C01333"/>
                </a:solidFill>
              </a:rPr>
              <a:t>præsentation</a:t>
            </a:r>
            <a:br>
              <a:rPr lang="da-DK" sz="3200" b="1" dirty="0">
                <a:solidFill>
                  <a:srgbClr val="C01333"/>
                </a:solidFill>
              </a:rPr>
            </a:br>
            <a:endParaRPr lang="da-DK" sz="3200" b="1" dirty="0">
              <a:solidFill>
                <a:srgbClr val="C01333"/>
              </a:solidFill>
            </a:endParaRPr>
          </a:p>
          <a:p>
            <a:pPr algn="l"/>
            <a:endParaRPr lang="da-DK" sz="1600" dirty="0"/>
          </a:p>
          <a:p>
            <a:pPr algn="l"/>
            <a:endParaRPr lang="da-DK" sz="1600" dirty="0"/>
          </a:p>
        </p:txBody>
      </p:sp>
    </p:spTree>
    <p:custDataLst>
      <p:tags r:id="rId1"/>
    </p:custDataLst>
    <p:extLst>
      <p:ext uri="{BB962C8B-B14F-4D97-AF65-F5344CB8AC3E}">
        <p14:creationId xmlns:p14="http://schemas.microsoft.com/office/powerpoint/2010/main" val="3653360887"/>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86" name="Object 3085"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6" progId="TCLayout.ActiveDocument.1">
                  <p:embed/>
                </p:oleObj>
              </mc:Choice>
              <mc:Fallback>
                <p:oleObj name="think-cell Slide" r:id="rId6" imgW="347" imgH="346" progId="TCLayout.ActiveDocument.1">
                  <p:embed/>
                  <p:pic>
                    <p:nvPicPr>
                      <p:cNvPr id="3086" name="Object 3085" hidden="1"/>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34" name="Rectangle 33"/>
          <p:cNvSpPr/>
          <p:nvPr/>
        </p:nvSpPr>
        <p:spPr>
          <a:xfrm>
            <a:off x="3803437" y="-3867"/>
            <a:ext cx="2797453" cy="6857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defRPr>
            </a:lvl1pPr>
            <a:lvl2pPr marL="457200" algn="l" defTabSz="914400" rtl="0" eaLnBrk="1" latinLnBrk="0" hangingPunct="1">
              <a:defRPr sz="1800" kern="1200">
                <a:solidFill>
                  <a:srgbClr val="FFFFFF"/>
                </a:solidFill>
              </a:defRPr>
            </a:lvl2pPr>
            <a:lvl3pPr marL="914400" algn="l" defTabSz="914400" rtl="0" eaLnBrk="1" latinLnBrk="0" hangingPunct="1">
              <a:defRPr sz="1800" kern="1200">
                <a:solidFill>
                  <a:srgbClr val="FFFFFF"/>
                </a:solidFill>
              </a:defRPr>
            </a:lvl3pPr>
            <a:lvl4pPr marL="1371600" algn="l" defTabSz="914400" rtl="0" eaLnBrk="1" latinLnBrk="0" hangingPunct="1">
              <a:defRPr sz="1800" kern="1200">
                <a:solidFill>
                  <a:srgbClr val="FFFFFF"/>
                </a:solidFill>
              </a:defRPr>
            </a:lvl4pPr>
            <a:lvl5pPr marL="1828800" algn="l" defTabSz="914400" rtl="0" eaLnBrk="1" latinLnBrk="0" hangingPunct="1">
              <a:defRPr sz="1800" kern="1200">
                <a:solidFill>
                  <a:srgbClr val="FFFFFF"/>
                </a:solidFill>
              </a:defRPr>
            </a:lvl5pPr>
            <a:lvl6pPr marL="2286000" algn="l" defTabSz="914400" rtl="0" eaLnBrk="1" latinLnBrk="0" hangingPunct="1">
              <a:defRPr sz="1800" kern="1200">
                <a:solidFill>
                  <a:srgbClr val="FFFFFF"/>
                </a:solidFill>
              </a:defRPr>
            </a:lvl6pPr>
            <a:lvl7pPr marL="2743200" algn="l" defTabSz="914400" rtl="0" eaLnBrk="1" latinLnBrk="0" hangingPunct="1">
              <a:defRPr sz="1800" kern="1200">
                <a:solidFill>
                  <a:srgbClr val="FFFFFF"/>
                </a:solidFill>
              </a:defRPr>
            </a:lvl7pPr>
            <a:lvl8pPr marL="3200400" algn="l" defTabSz="914400" rtl="0" eaLnBrk="1" latinLnBrk="0" hangingPunct="1">
              <a:defRPr sz="1800" kern="1200">
                <a:solidFill>
                  <a:srgbClr val="FFFFFF"/>
                </a:solidFill>
              </a:defRPr>
            </a:lvl8pPr>
            <a:lvl9pPr marL="3657600" algn="l" defTabSz="914400" rtl="0" eaLnBrk="1" latinLnBrk="0" hangingPunct="1">
              <a:defRPr sz="1800" kern="1200">
                <a:solidFill>
                  <a:srgbClr val="FFFFFF"/>
                </a:solidFill>
              </a:defRPr>
            </a:lvl9pPr>
          </a:lstStyle>
          <a:p>
            <a:pPr algn="ctr"/>
            <a:endParaRPr lang="nl-NL"/>
          </a:p>
        </p:txBody>
      </p:sp>
      <p:sp>
        <p:nvSpPr>
          <p:cNvPr id="87" name="Rectangle 86"/>
          <p:cNvSpPr/>
          <p:nvPr/>
        </p:nvSpPr>
        <p:spPr>
          <a:xfrm>
            <a:off x="6597096" y="0"/>
            <a:ext cx="2797453" cy="46164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rgbClr val="FFFFFF"/>
                </a:solidFill>
              </a:defRPr>
            </a:lvl1pPr>
            <a:lvl2pPr marL="457200" algn="l" defTabSz="914400" rtl="0" eaLnBrk="1" latinLnBrk="0" hangingPunct="1">
              <a:defRPr sz="1800" kern="1200">
                <a:solidFill>
                  <a:srgbClr val="FFFFFF"/>
                </a:solidFill>
              </a:defRPr>
            </a:lvl2pPr>
            <a:lvl3pPr marL="914400" algn="l" defTabSz="914400" rtl="0" eaLnBrk="1" latinLnBrk="0" hangingPunct="1">
              <a:defRPr sz="1800" kern="1200">
                <a:solidFill>
                  <a:srgbClr val="FFFFFF"/>
                </a:solidFill>
              </a:defRPr>
            </a:lvl3pPr>
            <a:lvl4pPr marL="1371600" algn="l" defTabSz="914400" rtl="0" eaLnBrk="1" latinLnBrk="0" hangingPunct="1">
              <a:defRPr sz="1800" kern="1200">
                <a:solidFill>
                  <a:srgbClr val="FFFFFF"/>
                </a:solidFill>
              </a:defRPr>
            </a:lvl4pPr>
            <a:lvl5pPr marL="1828800" algn="l" defTabSz="914400" rtl="0" eaLnBrk="1" latinLnBrk="0" hangingPunct="1">
              <a:defRPr sz="1800" kern="1200">
                <a:solidFill>
                  <a:srgbClr val="FFFFFF"/>
                </a:solidFill>
              </a:defRPr>
            </a:lvl5pPr>
            <a:lvl6pPr marL="2286000" algn="l" defTabSz="914400" rtl="0" eaLnBrk="1" latinLnBrk="0" hangingPunct="1">
              <a:defRPr sz="1800" kern="1200">
                <a:solidFill>
                  <a:srgbClr val="FFFFFF"/>
                </a:solidFill>
              </a:defRPr>
            </a:lvl6pPr>
            <a:lvl7pPr marL="2743200" algn="l" defTabSz="914400" rtl="0" eaLnBrk="1" latinLnBrk="0" hangingPunct="1">
              <a:defRPr sz="1800" kern="1200">
                <a:solidFill>
                  <a:srgbClr val="FFFFFF"/>
                </a:solidFill>
              </a:defRPr>
            </a:lvl7pPr>
            <a:lvl8pPr marL="3200400" algn="l" defTabSz="914400" rtl="0" eaLnBrk="1" latinLnBrk="0" hangingPunct="1">
              <a:defRPr sz="1800" kern="1200">
                <a:solidFill>
                  <a:srgbClr val="FFFFFF"/>
                </a:solidFill>
              </a:defRPr>
            </a:lvl8pPr>
            <a:lvl9pPr marL="3657600" algn="l" defTabSz="914400" rtl="0" eaLnBrk="1" latinLnBrk="0" hangingPunct="1">
              <a:defRPr sz="1800" kern="1200">
                <a:solidFill>
                  <a:srgbClr val="FFFFFF"/>
                </a:solidFill>
              </a:defRPr>
            </a:lvl9pPr>
          </a:lstStyle>
          <a:p>
            <a:pPr algn="ctr"/>
            <a:endParaRPr lang="nl-NL"/>
          </a:p>
        </p:txBody>
      </p:sp>
      <p:sp>
        <p:nvSpPr>
          <p:cNvPr id="6" name="Rectangle 5">
            <a:extLst>
              <a:ext uri="{FF2B5EF4-FFF2-40B4-BE49-F238E27FC236}">
                <a16:creationId xmlns:a16="http://schemas.microsoft.com/office/drawing/2014/main" id="{71233063-0293-E586-9AC1-3F449052A288}"/>
              </a:ext>
            </a:extLst>
          </p:cNvPr>
          <p:cNvSpPr/>
          <p:nvPr>
            <p:custDataLst>
              <p:tags r:id="rId3"/>
            </p:custDataLst>
          </p:nvPr>
        </p:nvSpPr>
        <p:spPr>
          <a:xfrm>
            <a:off x="0" y="4616450"/>
            <a:ext cx="12195795" cy="2245414"/>
          </a:xfrm>
          <a:prstGeom prst="rect">
            <a:avLst/>
          </a:prstGeom>
          <a:solidFill>
            <a:srgbClr val="C00000"/>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800" b="1" dirty="0">
                <a:solidFill>
                  <a:schemeClr val="bg2"/>
                </a:solidFill>
                <a:hlinkClick r:id="rId8">
                  <a:extLst>
                    <a:ext uri="{A12FA001-AC4F-418D-AE19-62706E023703}">
                      <ahyp:hlinkClr xmlns:ahyp="http://schemas.microsoft.com/office/drawing/2018/hyperlinkcolor" val="tx"/>
                    </a:ext>
                  </a:extLst>
                </a:hlinkClick>
              </a:rPr>
              <a:t>afdregnskab@rodekors.dk</a:t>
            </a:r>
            <a:endParaRPr lang="en-US" sz="1800" b="1" dirty="0">
              <a:solidFill>
                <a:schemeClr val="bg2"/>
              </a:solidFill>
            </a:endParaRPr>
          </a:p>
          <a:p>
            <a:pPr algn="ctr"/>
            <a:endParaRPr lang="en-US" sz="1800" b="1" dirty="0">
              <a:solidFill>
                <a:schemeClr val="bg2"/>
              </a:solidFill>
            </a:endParaRPr>
          </a:p>
          <a:p>
            <a:pPr algn="ctr"/>
            <a:r>
              <a:rPr lang="en-US" b="1" dirty="0">
                <a:solidFill>
                  <a:schemeClr val="bg2"/>
                </a:solidFill>
              </a:rPr>
              <a:t>+45 35 29 94 20</a:t>
            </a:r>
            <a:endParaRPr lang="da-DK" dirty="0">
              <a:solidFill>
                <a:schemeClr val="bg2"/>
              </a:solidFill>
            </a:endParaRPr>
          </a:p>
        </p:txBody>
      </p:sp>
      <p:pic>
        <p:nvPicPr>
          <p:cNvPr id="3" name="Graphic 2">
            <a:extLst>
              <a:ext uri="{FF2B5EF4-FFF2-40B4-BE49-F238E27FC236}">
                <a16:creationId xmlns:a16="http://schemas.microsoft.com/office/drawing/2014/main" id="{4CC148B6-C5BD-F33B-BA02-A359BC94139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579795" y="5301123"/>
            <a:ext cx="447283" cy="447283"/>
          </a:xfrm>
          <a:prstGeom prst="rect">
            <a:avLst/>
          </a:prstGeom>
        </p:spPr>
      </p:pic>
      <p:pic>
        <p:nvPicPr>
          <p:cNvPr id="4" name="Graphic 3">
            <a:extLst>
              <a:ext uri="{FF2B5EF4-FFF2-40B4-BE49-F238E27FC236}">
                <a16:creationId xmlns:a16="http://schemas.microsoft.com/office/drawing/2014/main" id="{AC60546E-CF7B-74E2-F27A-4DBA8CE0C7E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549771" y="5748406"/>
            <a:ext cx="507330" cy="507330"/>
          </a:xfrm>
          <a:prstGeom prst="rect">
            <a:avLst/>
          </a:prstGeom>
        </p:spPr>
      </p:pic>
      <p:sp>
        <p:nvSpPr>
          <p:cNvPr id="8" name="Footer Placeholder 3">
            <a:extLst>
              <a:ext uri="{FF2B5EF4-FFF2-40B4-BE49-F238E27FC236}">
                <a16:creationId xmlns:a16="http://schemas.microsoft.com/office/drawing/2014/main" id="{0CF734FC-024B-F917-21B4-B0EC0B8164FC}"/>
              </a:ext>
            </a:extLst>
          </p:cNvPr>
          <p:cNvSpPr txBox="1">
            <a:spLocks/>
          </p:cNvSpPr>
          <p:nvPr/>
        </p:nvSpPr>
        <p:spPr>
          <a:xfrm>
            <a:off x="838200" y="6513030"/>
            <a:ext cx="10515599" cy="237600"/>
          </a:xfrm>
          <a:prstGeom prst="rect">
            <a:avLst/>
          </a:prstGeom>
        </p:spPr>
        <p:txBody>
          <a:bodyPr/>
          <a:ls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a-DK" sz="800" dirty="0"/>
              <a:t>RØDE KORS / Introduktionskursus for nye kasserere / 2025</a:t>
            </a:r>
          </a:p>
        </p:txBody>
      </p:sp>
      <p:sp>
        <p:nvSpPr>
          <p:cNvPr id="2" name="Tekstfelt 13">
            <a:extLst>
              <a:ext uri="{FF2B5EF4-FFF2-40B4-BE49-F238E27FC236}">
                <a16:creationId xmlns:a16="http://schemas.microsoft.com/office/drawing/2014/main" id="{9758BC63-0D0B-0FBB-DE03-9A04E586443F}"/>
              </a:ext>
            </a:extLst>
          </p:cNvPr>
          <p:cNvSpPr txBox="1"/>
          <p:nvPr/>
        </p:nvSpPr>
        <p:spPr>
          <a:xfrm>
            <a:off x="970658" y="602264"/>
            <a:ext cx="10250681" cy="3539430"/>
          </a:xfrm>
          <a:prstGeom prst="rect">
            <a:avLst/>
          </a:prstGeom>
          <a:noFill/>
        </p:spPr>
        <p:txBody>
          <a:bodyPr wrap="square" rtlCol="0">
            <a:spAutoFit/>
          </a:bodyPr>
          <a:lstStyle/>
          <a:p>
            <a:pPr algn="ctr"/>
            <a:r>
              <a:rPr lang="da-DK" sz="3200" b="1">
                <a:solidFill>
                  <a:srgbClr val="C01333"/>
                </a:solidFill>
              </a:rPr>
              <a:t>Vi er meget interesserede i jeres input –</a:t>
            </a:r>
            <a:br>
              <a:rPr lang="da-DK" sz="3200" b="1">
                <a:solidFill>
                  <a:srgbClr val="C01333"/>
                </a:solidFill>
              </a:rPr>
            </a:br>
            <a:r>
              <a:rPr lang="da-DK" sz="3200" b="1">
                <a:solidFill>
                  <a:srgbClr val="C01333"/>
                </a:solidFill>
              </a:rPr>
              <a:t>nu, under kurset og efterfølgende</a:t>
            </a:r>
          </a:p>
          <a:p>
            <a:pPr algn="ctr"/>
            <a:endParaRPr lang="da-DK" sz="3200" b="1">
              <a:solidFill>
                <a:srgbClr val="C01333"/>
              </a:solidFill>
            </a:endParaRPr>
          </a:p>
          <a:p>
            <a:pPr algn="ctr"/>
            <a:endParaRPr lang="da-DK" sz="3200" b="1">
              <a:solidFill>
                <a:srgbClr val="C01333"/>
              </a:solidFill>
            </a:endParaRPr>
          </a:p>
          <a:p>
            <a:pPr algn="ctr"/>
            <a:r>
              <a:rPr lang="da-DK" sz="3200" b="1">
                <a:solidFill>
                  <a:srgbClr val="C01333"/>
                </a:solidFill>
              </a:rPr>
              <a:t>Så spørg, kommentér, kom med forslag –</a:t>
            </a:r>
            <a:br>
              <a:rPr lang="da-DK" sz="3200" b="1">
                <a:solidFill>
                  <a:srgbClr val="C01333"/>
                </a:solidFill>
              </a:rPr>
            </a:br>
            <a:r>
              <a:rPr lang="da-DK" sz="3200" b="1">
                <a:solidFill>
                  <a:srgbClr val="C01333"/>
                </a:solidFill>
              </a:rPr>
              <a:t>så vi sammen kan nå det bedste resultat</a:t>
            </a:r>
          </a:p>
          <a:p>
            <a:pPr algn="l"/>
            <a:endParaRPr lang="da-DK" sz="1600"/>
          </a:p>
          <a:p>
            <a:pPr algn="l"/>
            <a:endParaRPr lang="da-DK" sz="1600"/>
          </a:p>
        </p:txBody>
      </p:sp>
    </p:spTree>
    <p:custDataLst>
      <p:tags r:id="rId1"/>
    </p:custDataLst>
    <p:extLst>
      <p:ext uri="{BB962C8B-B14F-4D97-AF65-F5344CB8AC3E}">
        <p14:creationId xmlns:p14="http://schemas.microsoft.com/office/powerpoint/2010/main" val="2716523068"/>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8B236F6-F44D-E536-1A11-E2B250DECC7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25" imgH="424" progId="TCLayout.ActiveDocument.1">
                  <p:embed/>
                </p:oleObj>
              </mc:Choice>
              <mc:Fallback>
                <p:oleObj name="think-cell Slide" r:id="rId8" imgW="425" imgH="424" progId="TCLayout.ActiveDocument.1">
                  <p:embed/>
                  <p:pic>
                    <p:nvPicPr>
                      <p:cNvPr id="6" name="Object 5" hidden="1">
                        <a:extLst>
                          <a:ext uri="{FF2B5EF4-FFF2-40B4-BE49-F238E27FC236}">
                            <a16:creationId xmlns:a16="http://schemas.microsoft.com/office/drawing/2014/main" id="{88B236F6-F44D-E536-1A11-E2B250DECC7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8" name="Oval 27">
            <a:extLst>
              <a:ext uri="{FF2B5EF4-FFF2-40B4-BE49-F238E27FC236}">
                <a16:creationId xmlns:a16="http://schemas.microsoft.com/office/drawing/2014/main" id="{B1E1DC12-A7CB-4438-9104-21463E903B16}"/>
              </a:ext>
            </a:extLst>
          </p:cNvPr>
          <p:cNvSpPr/>
          <p:nvPr/>
        </p:nvSpPr>
        <p:spPr>
          <a:xfrm>
            <a:off x="680559" y="3071915"/>
            <a:ext cx="1291702" cy="1291697"/>
          </a:xfrm>
          <a:prstGeom prst="ellipse">
            <a:avLst/>
          </a:prstGeom>
          <a:solidFill>
            <a:schemeClr val="accent1"/>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defPPr>
              <a:defRPr lang="en-US"/>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9pPr>
          </a:lstStyle>
          <a:p>
            <a:pPr algn="ctr" defTabSz="1625529"/>
            <a:r>
              <a:rPr lang="en-US" sz="1200" b="1" dirty="0" err="1">
                <a:solidFill>
                  <a:schemeClr val="bg1"/>
                </a:solidFill>
              </a:rPr>
              <a:t>Økonomien</a:t>
            </a:r>
            <a:r>
              <a:rPr lang="en-US" sz="1200" b="1" dirty="0">
                <a:solidFill>
                  <a:schemeClr val="bg1"/>
                </a:solidFill>
              </a:rPr>
              <a:t> </a:t>
            </a:r>
            <a:r>
              <a:rPr lang="en-US" sz="1200" b="1" dirty="0" err="1">
                <a:solidFill>
                  <a:schemeClr val="bg1"/>
                </a:solidFill>
              </a:rPr>
              <a:t>i</a:t>
            </a:r>
            <a:endParaRPr lang="en-US" sz="1200" b="1" dirty="0">
              <a:solidFill>
                <a:schemeClr val="bg1"/>
              </a:solidFill>
            </a:endParaRPr>
          </a:p>
          <a:p>
            <a:pPr algn="ctr" defTabSz="1625529"/>
            <a:r>
              <a:rPr lang="en-US" sz="1200" b="1" dirty="0">
                <a:solidFill>
                  <a:schemeClr val="bg1"/>
                </a:solidFill>
              </a:rPr>
              <a:t> </a:t>
            </a:r>
            <a:r>
              <a:rPr lang="en-US" sz="1200" b="1" dirty="0" err="1">
                <a:solidFill>
                  <a:schemeClr val="bg1"/>
                </a:solidFill>
              </a:rPr>
              <a:t>Røde</a:t>
            </a:r>
            <a:r>
              <a:rPr lang="en-US" sz="1200" b="1" dirty="0">
                <a:solidFill>
                  <a:schemeClr val="bg1"/>
                </a:solidFill>
              </a:rPr>
              <a:t> Kors</a:t>
            </a:r>
          </a:p>
        </p:txBody>
      </p:sp>
      <p:sp>
        <p:nvSpPr>
          <p:cNvPr id="31" name="Arc 30">
            <a:extLst>
              <a:ext uri="{FF2B5EF4-FFF2-40B4-BE49-F238E27FC236}">
                <a16:creationId xmlns:a16="http://schemas.microsoft.com/office/drawing/2014/main" id="{89B984AB-AF46-426D-AD52-FDAD79DC741A}"/>
              </a:ext>
            </a:extLst>
          </p:cNvPr>
          <p:cNvSpPr/>
          <p:nvPr/>
        </p:nvSpPr>
        <p:spPr>
          <a:xfrm>
            <a:off x="441187" y="2867942"/>
            <a:ext cx="1699652" cy="1699645"/>
          </a:xfrm>
          <a:prstGeom prst="arc">
            <a:avLst>
              <a:gd name="adj1" fmla="val 17787304"/>
              <a:gd name="adj2" fmla="val 3678504"/>
            </a:avLst>
          </a:prstGeom>
          <a:noFill/>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9pPr>
          </a:lstStyle>
          <a:p>
            <a:pPr algn="ctr" defTabSz="1625529"/>
            <a:endParaRPr lang="en-US" sz="1778">
              <a:solidFill>
                <a:prstClr val="black"/>
              </a:solidFill>
            </a:endParaRPr>
          </a:p>
        </p:txBody>
      </p:sp>
      <p:cxnSp>
        <p:nvCxnSpPr>
          <p:cNvPr id="39" name="Straight Connector 38">
            <a:extLst>
              <a:ext uri="{FF2B5EF4-FFF2-40B4-BE49-F238E27FC236}">
                <a16:creationId xmlns:a16="http://schemas.microsoft.com/office/drawing/2014/main" id="{A5AD0B5B-5018-4C87-B9B5-51AF315BCB34}"/>
              </a:ext>
            </a:extLst>
          </p:cNvPr>
          <p:cNvCxnSpPr>
            <a:stCxn id="32" idx="7"/>
            <a:endCxn id="29" idx="0"/>
          </p:cNvCxnSpPr>
          <p:nvPr/>
        </p:nvCxnSpPr>
        <p:spPr>
          <a:xfrm flipV="1">
            <a:off x="1729638" y="2730387"/>
            <a:ext cx="162271" cy="162008"/>
          </a:xfrm>
          <a:prstGeom prst="line">
            <a:avLst/>
          </a:prstGeom>
          <a:solidFill>
            <a:schemeClr val="bg1"/>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cxnSp>
      <p:grpSp>
        <p:nvGrpSpPr>
          <p:cNvPr id="11" name="Gruppe 10">
            <a:extLst>
              <a:ext uri="{FF2B5EF4-FFF2-40B4-BE49-F238E27FC236}">
                <a16:creationId xmlns:a16="http://schemas.microsoft.com/office/drawing/2014/main" id="{3BC207B6-3052-13AF-26CE-3FA533B1DEA9}"/>
              </a:ext>
            </a:extLst>
          </p:cNvPr>
          <p:cNvGrpSpPr/>
          <p:nvPr/>
        </p:nvGrpSpPr>
        <p:grpSpPr>
          <a:xfrm>
            <a:off x="1587116" y="1541065"/>
            <a:ext cx="9369670" cy="1509950"/>
            <a:chOff x="1587116" y="1541065"/>
            <a:chExt cx="9369670" cy="1509950"/>
          </a:xfrm>
        </p:grpSpPr>
        <p:sp>
          <p:nvSpPr>
            <p:cNvPr id="29" name="Arc 28">
              <a:extLst>
                <a:ext uri="{FF2B5EF4-FFF2-40B4-BE49-F238E27FC236}">
                  <a16:creationId xmlns:a16="http://schemas.microsoft.com/office/drawing/2014/main" id="{70A7AA0A-A216-4796-BC4D-F8DBE5BB8C01}"/>
                </a:ext>
              </a:extLst>
            </p:cNvPr>
            <p:cNvSpPr/>
            <p:nvPr/>
          </p:nvSpPr>
          <p:spPr>
            <a:xfrm>
              <a:off x="1804053" y="1759318"/>
              <a:ext cx="1291702" cy="1291697"/>
            </a:xfrm>
            <a:prstGeom prst="arc">
              <a:avLst>
                <a:gd name="adj1" fmla="val 8985877"/>
                <a:gd name="adj2" fmla="val 7917159"/>
              </a:avLst>
            </a:prstGeom>
            <a:noFill/>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9pPr>
            </a:lstStyle>
            <a:p>
              <a:pPr algn="ctr" defTabSz="1625529"/>
              <a:endParaRPr lang="en-US" sz="1778">
                <a:solidFill>
                  <a:prstClr val="black"/>
                </a:solidFill>
              </a:endParaRPr>
            </a:p>
          </p:txBody>
        </p:sp>
        <p:sp>
          <p:nvSpPr>
            <p:cNvPr id="30" name="Oval 29">
              <a:extLst>
                <a:ext uri="{FF2B5EF4-FFF2-40B4-BE49-F238E27FC236}">
                  <a16:creationId xmlns:a16="http://schemas.microsoft.com/office/drawing/2014/main" id="{0E1D7A55-F1D4-4458-A049-BAB94265D63A}"/>
                </a:ext>
              </a:extLst>
            </p:cNvPr>
            <p:cNvSpPr/>
            <p:nvPr/>
          </p:nvSpPr>
          <p:spPr>
            <a:xfrm>
              <a:off x="1899060" y="1854327"/>
              <a:ext cx="1101688" cy="1101680"/>
            </a:xfrm>
            <a:prstGeom prst="ellipse">
              <a:avLst/>
            </a:prstGeom>
            <a:solidFill>
              <a:schemeClr val="accent1">
                <a:lumMod val="75000"/>
              </a:schemeClr>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defPPr>
                <a:defRPr lang="en-US"/>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9pPr>
            </a:lstStyle>
            <a:p>
              <a:pPr algn="ctr" defTabSz="1625529"/>
              <a:endParaRPr lang="en-US" sz="1778" dirty="0">
                <a:solidFill>
                  <a:prstClr val="white"/>
                </a:solidFill>
              </a:endParaRPr>
            </a:p>
          </p:txBody>
        </p:sp>
        <p:sp>
          <p:nvSpPr>
            <p:cNvPr id="32" name="Oval 31">
              <a:extLst>
                <a:ext uri="{FF2B5EF4-FFF2-40B4-BE49-F238E27FC236}">
                  <a16:creationId xmlns:a16="http://schemas.microsoft.com/office/drawing/2014/main" id="{7FC01453-276C-4977-A97B-7DAE62B99516}"/>
                </a:ext>
              </a:extLst>
            </p:cNvPr>
            <p:cNvSpPr/>
            <p:nvPr/>
          </p:nvSpPr>
          <p:spPr>
            <a:xfrm>
              <a:off x="1587116" y="2867941"/>
              <a:ext cx="166977" cy="166977"/>
            </a:xfrm>
            <a:prstGeom prst="ellipse">
              <a:avLst/>
            </a:prstGeom>
            <a:solidFill>
              <a:schemeClr val="accent1"/>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9pPr>
            </a:lstStyle>
            <a:p>
              <a:pPr algn="ctr" defTabSz="1625529"/>
              <a:endParaRPr lang="en-US" sz="1778">
                <a:solidFill>
                  <a:prstClr val="white"/>
                </a:solidFill>
              </a:endParaRPr>
            </a:p>
          </p:txBody>
        </p:sp>
        <p:sp>
          <p:nvSpPr>
            <p:cNvPr id="13" name="Légende : encadrée à une bordure 74">
              <a:extLst>
                <a:ext uri="{FF2B5EF4-FFF2-40B4-BE49-F238E27FC236}">
                  <a16:creationId xmlns:a16="http://schemas.microsoft.com/office/drawing/2014/main" id="{CFDBAE71-35E9-4713-87AC-DDD9823DB73B}"/>
                </a:ext>
              </a:extLst>
            </p:cNvPr>
            <p:cNvSpPr/>
            <p:nvPr/>
          </p:nvSpPr>
          <p:spPr>
            <a:xfrm>
              <a:off x="4320402" y="1541065"/>
              <a:ext cx="6636384" cy="137753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noAutofit/>
            </a:bodyPr>
            <a:lstStyle>
              <a:defPPr>
                <a:defRPr lang="en-US"/>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9pPr>
            </a:lstStyle>
            <a:p>
              <a:pPr defTabSz="1625529"/>
              <a:r>
                <a:rPr lang="da-DK" sz="1800" dirty="0">
                  <a:solidFill>
                    <a:schemeClr val="tx1"/>
                  </a:solidFill>
                </a:rPr>
                <a:t>Røde Kors er en indsamlingsorganisation</a:t>
              </a:r>
              <a:endParaRPr lang="en-US" dirty="0">
                <a:solidFill>
                  <a:schemeClr val="tx1"/>
                </a:solidFill>
              </a:endParaRPr>
            </a:p>
          </p:txBody>
        </p:sp>
        <p:sp>
          <p:nvSpPr>
            <p:cNvPr id="14" name="Légende : encadrée à une bordure 74">
              <a:extLst>
                <a:ext uri="{FF2B5EF4-FFF2-40B4-BE49-F238E27FC236}">
                  <a16:creationId xmlns:a16="http://schemas.microsoft.com/office/drawing/2014/main" id="{672D38AD-5725-46AA-9BFC-F5186546106E}"/>
                </a:ext>
              </a:extLst>
            </p:cNvPr>
            <p:cNvSpPr/>
            <p:nvPr/>
          </p:nvSpPr>
          <p:spPr>
            <a:xfrm>
              <a:off x="4277963" y="1541065"/>
              <a:ext cx="42439" cy="1377537"/>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62556" tIns="81278" rIns="162556" bIns="81278" rtlCol="0" anchor="ctr">
              <a:noAutofit/>
            </a:bodyPr>
            <a:lstStyle>
              <a:defPPr>
                <a:defRPr lang="en-US"/>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9pPr>
            </a:lstStyle>
            <a:p>
              <a:pPr marL="308850" indent="-308850" defTabSz="1625529">
                <a:lnSpc>
                  <a:spcPct val="95000"/>
                </a:lnSpc>
                <a:buChar char="•"/>
              </a:pPr>
              <a:endParaRPr lang="en-US" sz="1778">
                <a:solidFill>
                  <a:schemeClr val="tx1"/>
                </a:solidFill>
              </a:endParaRPr>
            </a:p>
          </p:txBody>
        </p:sp>
        <p:sp>
          <p:nvSpPr>
            <p:cNvPr id="51" name="Freeform: Shape 50">
              <a:extLst>
                <a:ext uri="{FF2B5EF4-FFF2-40B4-BE49-F238E27FC236}">
                  <a16:creationId xmlns:a16="http://schemas.microsoft.com/office/drawing/2014/main" id="{1B2073FA-69B0-451C-ACD0-9D636848308B}"/>
                </a:ext>
              </a:extLst>
            </p:cNvPr>
            <p:cNvSpPr/>
            <p:nvPr/>
          </p:nvSpPr>
          <p:spPr>
            <a:xfrm>
              <a:off x="3305620" y="2258855"/>
              <a:ext cx="963246" cy="0"/>
            </a:xfrm>
            <a:custGeom>
              <a:avLst/>
              <a:gdLst>
                <a:gd name="connsiteX0" fmla="*/ 1630680 w 1630680"/>
                <a:gd name="connsiteY0" fmla="*/ 0 h 0"/>
                <a:gd name="connsiteX1" fmla="*/ 0 w 1630680"/>
                <a:gd name="connsiteY1" fmla="*/ 0 h 0"/>
                <a:gd name="connsiteX2" fmla="*/ 0 w 1630680"/>
                <a:gd name="connsiteY2" fmla="*/ 693420 h 693420"/>
              </a:gdLst>
              <a:ahLst/>
              <a:cxnLst>
                <a:cxn ang="0">
                  <a:pos x="connsiteX0" y="connsiteY0"/>
                </a:cxn>
                <a:cxn ang="0">
                  <a:pos x="connsiteX1" y="connsiteY1"/>
                </a:cxn>
              </a:cxnLst>
              <a:rect l="l" t="t" r="r" b="b"/>
              <a:pathLst>
                <a:path w="1630680">
                  <a:moveTo>
                    <a:pt x="1630680" y="0"/>
                  </a:moveTo>
                  <a:lnTo>
                    <a:pt x="0" y="0"/>
                  </a:lnTo>
                </a:path>
              </a:pathLst>
            </a:custGeom>
            <a:ln w="12700">
              <a:solidFill>
                <a:schemeClr val="accent1">
                  <a:lumMod val="75000"/>
                </a:schemeClr>
              </a:solidFill>
              <a:prstDash val="solid"/>
              <a:tailEnd type="oval" w="lg" len="lg"/>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9pPr>
            </a:lstStyle>
            <a:p>
              <a:pPr algn="ctr" defTabSz="1625529"/>
              <a:endParaRPr lang="en-US" sz="1778"/>
            </a:p>
          </p:txBody>
        </p:sp>
      </p:grpSp>
      <p:sp>
        <p:nvSpPr>
          <p:cNvPr id="4" name="1 Shape Name"/>
          <p:cNvSpPr>
            <a:spLocks noGrp="1"/>
          </p:cNvSpPr>
          <p:nvPr>
            <p:ph type="title"/>
          </p:nvPr>
        </p:nvSpPr>
        <p:spPr>
          <a:prstGeom prst="rect">
            <a:avLst/>
          </a:prstGeom>
        </p:spPr>
        <p:txBody>
          <a:bodyPr/>
          <a:lstStyle/>
          <a:p>
            <a:r>
              <a:rPr lang="da-DK" dirty="0"/>
              <a:t>3 vigtige pointer om økonomien i Røde Kors</a:t>
            </a:r>
            <a:endParaRPr dirty="0"/>
          </a:p>
        </p:txBody>
      </p:sp>
      <p:pic>
        <p:nvPicPr>
          <p:cNvPr id="7" name="Grafik 6">
            <a:extLst>
              <a:ext uri="{FF2B5EF4-FFF2-40B4-BE49-F238E27FC236}">
                <a16:creationId xmlns:a16="http://schemas.microsoft.com/office/drawing/2014/main" id="{33ED8B58-3FB5-2893-8940-7C2BAF5E304D}"/>
              </a:ext>
            </a:extLst>
          </p:cNvPr>
          <p:cNvPicPr>
            <a:picLocks noChangeAspect="1"/>
          </p:cNvPicPr>
          <p:nvPr>
            <p:custDataLst>
              <p:tags r:id="rId3"/>
            </p:custDataLst>
          </p:nvPr>
        </p:nvPicPr>
        <p:blipFill>
          <a:blip r:embed="rId10">
            <a:extLst>
              <a:ext uri="{96DAC541-7B7A-43D3-8B79-37D633B846F1}">
                <asvg:svgBlip xmlns:asvg="http://schemas.microsoft.com/office/drawing/2016/SVG/main" r:embed="rId11"/>
              </a:ext>
            </a:extLst>
          </a:blip>
          <a:stretch>
            <a:fillRect/>
          </a:stretch>
        </p:blipFill>
        <p:spPr>
          <a:xfrm>
            <a:off x="2211779" y="2167041"/>
            <a:ext cx="476250" cy="476250"/>
          </a:xfrm>
          <a:prstGeom prst="rect">
            <a:avLst/>
          </a:prstGeom>
        </p:spPr>
      </p:pic>
      <p:grpSp>
        <p:nvGrpSpPr>
          <p:cNvPr id="12" name="Gruppe 11">
            <a:extLst>
              <a:ext uri="{FF2B5EF4-FFF2-40B4-BE49-F238E27FC236}">
                <a16:creationId xmlns:a16="http://schemas.microsoft.com/office/drawing/2014/main" id="{1A766597-E500-E010-CD28-CC065CDE9424}"/>
              </a:ext>
            </a:extLst>
          </p:cNvPr>
          <p:cNvGrpSpPr/>
          <p:nvPr/>
        </p:nvGrpSpPr>
        <p:grpSpPr>
          <a:xfrm>
            <a:off x="2057351" y="3030705"/>
            <a:ext cx="8899436" cy="1374720"/>
            <a:chOff x="2057351" y="3030705"/>
            <a:chExt cx="8899436" cy="1374720"/>
          </a:xfrm>
        </p:grpSpPr>
        <p:sp>
          <p:nvSpPr>
            <p:cNvPr id="33" name="Arc 32">
              <a:extLst>
                <a:ext uri="{FF2B5EF4-FFF2-40B4-BE49-F238E27FC236}">
                  <a16:creationId xmlns:a16="http://schemas.microsoft.com/office/drawing/2014/main" id="{22CE0283-AF89-448D-9363-3A93BD475269}"/>
                </a:ext>
              </a:extLst>
            </p:cNvPr>
            <p:cNvSpPr/>
            <p:nvPr/>
          </p:nvSpPr>
          <p:spPr>
            <a:xfrm>
              <a:off x="2333052" y="3071915"/>
              <a:ext cx="1291702" cy="1291697"/>
            </a:xfrm>
            <a:prstGeom prst="arc">
              <a:avLst>
                <a:gd name="adj1" fmla="val 10797982"/>
                <a:gd name="adj2" fmla="val 9785826"/>
              </a:avLst>
            </a:prstGeom>
            <a:noFill/>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9pPr>
            </a:lstStyle>
            <a:p>
              <a:pPr algn="ctr" defTabSz="1625529"/>
              <a:endParaRPr lang="en-US" sz="1778">
                <a:solidFill>
                  <a:prstClr val="black"/>
                </a:solidFill>
              </a:endParaRPr>
            </a:p>
          </p:txBody>
        </p:sp>
        <p:sp>
          <p:nvSpPr>
            <p:cNvPr id="34" name="Oval 33">
              <a:extLst>
                <a:ext uri="{FF2B5EF4-FFF2-40B4-BE49-F238E27FC236}">
                  <a16:creationId xmlns:a16="http://schemas.microsoft.com/office/drawing/2014/main" id="{35F19749-91C1-44B0-94D2-1E0E13C9C4EC}"/>
                </a:ext>
              </a:extLst>
            </p:cNvPr>
            <p:cNvSpPr/>
            <p:nvPr/>
          </p:nvSpPr>
          <p:spPr>
            <a:xfrm>
              <a:off x="2428060" y="3166924"/>
              <a:ext cx="1101688" cy="1101680"/>
            </a:xfrm>
            <a:prstGeom prst="ellipse">
              <a:avLst/>
            </a:prstGeom>
            <a:solidFill>
              <a:schemeClr val="accent1">
                <a:lumMod val="75000"/>
              </a:schemeClr>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defPPr>
                <a:defRPr lang="en-US"/>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9pPr>
            </a:lstStyle>
            <a:p>
              <a:pPr algn="ctr" defTabSz="1625529"/>
              <a:endParaRPr lang="en-US" sz="1778">
                <a:solidFill>
                  <a:prstClr val="white"/>
                </a:solidFill>
              </a:endParaRPr>
            </a:p>
          </p:txBody>
        </p:sp>
        <p:sp>
          <p:nvSpPr>
            <p:cNvPr id="37" name="Oval 36">
              <a:extLst>
                <a:ext uri="{FF2B5EF4-FFF2-40B4-BE49-F238E27FC236}">
                  <a16:creationId xmlns:a16="http://schemas.microsoft.com/office/drawing/2014/main" id="{48B7A16A-FCAF-4072-BA26-11A40BD8278B}"/>
                </a:ext>
              </a:extLst>
            </p:cNvPr>
            <p:cNvSpPr/>
            <p:nvPr/>
          </p:nvSpPr>
          <p:spPr>
            <a:xfrm>
              <a:off x="2057351" y="3634276"/>
              <a:ext cx="166977" cy="166977"/>
            </a:xfrm>
            <a:prstGeom prst="ellipse">
              <a:avLst/>
            </a:prstGeom>
            <a:solidFill>
              <a:schemeClr val="accent1"/>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9pPr>
            </a:lstStyle>
            <a:p>
              <a:pPr algn="ctr" defTabSz="1625529"/>
              <a:endParaRPr lang="en-US" sz="1778">
                <a:solidFill>
                  <a:prstClr val="white"/>
                </a:solidFill>
              </a:endParaRPr>
            </a:p>
          </p:txBody>
        </p:sp>
        <p:cxnSp>
          <p:nvCxnSpPr>
            <p:cNvPr id="40" name="Straight Connector 39">
              <a:extLst>
                <a:ext uri="{FF2B5EF4-FFF2-40B4-BE49-F238E27FC236}">
                  <a16:creationId xmlns:a16="http://schemas.microsoft.com/office/drawing/2014/main" id="{5ADC5833-157E-4FCD-B21F-C32009556A5F}"/>
                </a:ext>
              </a:extLst>
            </p:cNvPr>
            <p:cNvCxnSpPr>
              <a:stCxn id="37" idx="6"/>
              <a:endCxn id="33" idx="0"/>
            </p:cNvCxnSpPr>
            <p:nvPr/>
          </p:nvCxnSpPr>
          <p:spPr>
            <a:xfrm>
              <a:off x="2224326" y="3717764"/>
              <a:ext cx="108726" cy="379"/>
            </a:xfrm>
            <a:prstGeom prst="line">
              <a:avLst/>
            </a:prstGeom>
            <a:solidFill>
              <a:schemeClr val="bg1"/>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15" name="Légende : encadrée à une bordure 72">
              <a:extLst>
                <a:ext uri="{FF2B5EF4-FFF2-40B4-BE49-F238E27FC236}">
                  <a16:creationId xmlns:a16="http://schemas.microsoft.com/office/drawing/2014/main" id="{02EEF950-B5A1-48D3-B867-6C30A7E3921C}"/>
                </a:ext>
              </a:extLst>
            </p:cNvPr>
            <p:cNvSpPr/>
            <p:nvPr/>
          </p:nvSpPr>
          <p:spPr>
            <a:xfrm>
              <a:off x="4320402" y="3030705"/>
              <a:ext cx="6636385" cy="13747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noAutofit/>
            </a:bodyPr>
            <a:lstStyle>
              <a:defPPr>
                <a:defRPr lang="en-US"/>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9pPr>
            </a:lstStyle>
            <a:p>
              <a:pPr defTabSz="1625529"/>
              <a:r>
                <a:rPr lang="da-DK" sz="1800" dirty="0">
                  <a:solidFill>
                    <a:schemeClr val="tx1"/>
                  </a:solidFill>
                </a:rPr>
                <a:t>Røde Kors håndterer mange penge</a:t>
              </a:r>
              <a:endParaRPr lang="en-US" dirty="0">
                <a:solidFill>
                  <a:schemeClr val="tx1"/>
                </a:solidFill>
              </a:endParaRPr>
            </a:p>
          </p:txBody>
        </p:sp>
        <p:sp>
          <p:nvSpPr>
            <p:cNvPr id="16" name="Légende : encadrée à une bordure 72">
              <a:extLst>
                <a:ext uri="{FF2B5EF4-FFF2-40B4-BE49-F238E27FC236}">
                  <a16:creationId xmlns:a16="http://schemas.microsoft.com/office/drawing/2014/main" id="{95254983-0416-4E83-B5D3-563CC6937A90}"/>
                </a:ext>
              </a:extLst>
            </p:cNvPr>
            <p:cNvSpPr/>
            <p:nvPr/>
          </p:nvSpPr>
          <p:spPr>
            <a:xfrm>
              <a:off x="4277963" y="3030705"/>
              <a:ext cx="42439" cy="137472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62556" tIns="81278" rIns="162556" bIns="81278" rtlCol="0" anchor="ctr">
              <a:noAutofit/>
            </a:bodyPr>
            <a:lstStyle>
              <a:defPPr>
                <a:defRPr lang="en-US"/>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9pPr>
            </a:lstStyle>
            <a:p>
              <a:pPr marL="308850" indent="-308850" defTabSz="1625529">
                <a:lnSpc>
                  <a:spcPct val="95000"/>
                </a:lnSpc>
                <a:buChar char="•"/>
              </a:pPr>
              <a:endParaRPr lang="en-US" sz="1778">
                <a:solidFill>
                  <a:schemeClr val="tx1"/>
                </a:solidFill>
              </a:endParaRPr>
            </a:p>
          </p:txBody>
        </p:sp>
        <p:sp>
          <p:nvSpPr>
            <p:cNvPr id="52" name="Freeform: Shape 51">
              <a:extLst>
                <a:ext uri="{FF2B5EF4-FFF2-40B4-BE49-F238E27FC236}">
                  <a16:creationId xmlns:a16="http://schemas.microsoft.com/office/drawing/2014/main" id="{69C52596-C068-4CA6-BDE6-357459BDA22D}"/>
                </a:ext>
              </a:extLst>
            </p:cNvPr>
            <p:cNvSpPr/>
            <p:nvPr/>
          </p:nvSpPr>
          <p:spPr>
            <a:xfrm>
              <a:off x="3811476" y="3699068"/>
              <a:ext cx="489505" cy="46016"/>
            </a:xfrm>
            <a:custGeom>
              <a:avLst/>
              <a:gdLst>
                <a:gd name="connsiteX0" fmla="*/ 1630680 w 1630680"/>
                <a:gd name="connsiteY0" fmla="*/ 0 h 0"/>
                <a:gd name="connsiteX1" fmla="*/ 0 w 1630680"/>
                <a:gd name="connsiteY1" fmla="*/ 0 h 0"/>
                <a:gd name="connsiteX2" fmla="*/ 0 w 1630680"/>
                <a:gd name="connsiteY2" fmla="*/ 693420 h 693420"/>
              </a:gdLst>
              <a:ahLst/>
              <a:cxnLst>
                <a:cxn ang="0">
                  <a:pos x="connsiteX0" y="connsiteY0"/>
                </a:cxn>
                <a:cxn ang="0">
                  <a:pos x="connsiteX1" y="connsiteY1"/>
                </a:cxn>
              </a:cxnLst>
              <a:rect l="l" t="t" r="r" b="b"/>
              <a:pathLst>
                <a:path w="1630680">
                  <a:moveTo>
                    <a:pt x="1630680" y="0"/>
                  </a:moveTo>
                  <a:lnTo>
                    <a:pt x="0" y="0"/>
                  </a:lnTo>
                </a:path>
              </a:pathLst>
            </a:custGeom>
            <a:ln w="12700">
              <a:solidFill>
                <a:schemeClr val="accent1">
                  <a:lumMod val="75000"/>
                </a:schemeClr>
              </a:solidFill>
              <a:prstDash val="solid"/>
              <a:tailEnd type="oval" w="lg" len="lg"/>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9pPr>
            </a:lstStyle>
            <a:p>
              <a:pPr algn="ctr" defTabSz="1625529"/>
              <a:endParaRPr lang="en-US" sz="1778"/>
            </a:p>
          </p:txBody>
        </p:sp>
        <p:pic>
          <p:nvPicPr>
            <p:cNvPr id="8" name="Grafik 7">
              <a:extLst>
                <a:ext uri="{FF2B5EF4-FFF2-40B4-BE49-F238E27FC236}">
                  <a16:creationId xmlns:a16="http://schemas.microsoft.com/office/drawing/2014/main" id="{84FC373D-790B-7A5E-300A-8021DEAD2AE7}"/>
                </a:ext>
              </a:extLst>
            </p:cNvPr>
            <p:cNvPicPr>
              <a:picLocks noChangeAspect="1"/>
            </p:cNvPicPr>
            <p:nvPr>
              <p:custDataLst>
                <p:tags r:id="rId5"/>
              </p:custDataLst>
            </p:nvPr>
          </p:nvPicPr>
          <p:blipFill>
            <a:blip r:embed="rId12">
              <a:extLst>
                <a:ext uri="{96DAC541-7B7A-43D3-8B79-37D633B846F1}">
                  <asvg:svgBlip xmlns:asvg="http://schemas.microsoft.com/office/drawing/2016/SVG/main" r:embed="rId13"/>
                </a:ext>
              </a:extLst>
            </a:blip>
            <a:stretch>
              <a:fillRect/>
            </a:stretch>
          </p:blipFill>
          <p:spPr>
            <a:xfrm>
              <a:off x="2762623" y="3479638"/>
              <a:ext cx="476250" cy="476250"/>
            </a:xfrm>
            <a:prstGeom prst="rect">
              <a:avLst/>
            </a:prstGeom>
          </p:spPr>
        </p:pic>
      </p:grpSp>
      <p:grpSp>
        <p:nvGrpSpPr>
          <p:cNvPr id="19" name="Gruppe 18">
            <a:extLst>
              <a:ext uri="{FF2B5EF4-FFF2-40B4-BE49-F238E27FC236}">
                <a16:creationId xmlns:a16="http://schemas.microsoft.com/office/drawing/2014/main" id="{71CC5A0C-2832-4EC1-DA95-E3A55B1967B1}"/>
              </a:ext>
            </a:extLst>
          </p:cNvPr>
          <p:cNvGrpSpPr/>
          <p:nvPr/>
        </p:nvGrpSpPr>
        <p:grpSpPr>
          <a:xfrm>
            <a:off x="1587116" y="4400610"/>
            <a:ext cx="9369671" cy="1491639"/>
            <a:chOff x="1587116" y="4400610"/>
            <a:chExt cx="9369671" cy="1491639"/>
          </a:xfrm>
        </p:grpSpPr>
        <p:sp>
          <p:nvSpPr>
            <p:cNvPr id="35" name="Arc 34">
              <a:extLst>
                <a:ext uri="{FF2B5EF4-FFF2-40B4-BE49-F238E27FC236}">
                  <a16:creationId xmlns:a16="http://schemas.microsoft.com/office/drawing/2014/main" id="{C599C905-00C2-4840-BF72-CAF63E2B0261}"/>
                </a:ext>
              </a:extLst>
            </p:cNvPr>
            <p:cNvSpPr/>
            <p:nvPr/>
          </p:nvSpPr>
          <p:spPr>
            <a:xfrm>
              <a:off x="1804053" y="4406964"/>
              <a:ext cx="1291702" cy="1291697"/>
            </a:xfrm>
            <a:prstGeom prst="arc">
              <a:avLst>
                <a:gd name="adj1" fmla="val 12862956"/>
                <a:gd name="adj2" fmla="val 12129743"/>
              </a:avLst>
            </a:prstGeom>
            <a:noFill/>
            <a:ln w="127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9pPr>
            </a:lstStyle>
            <a:p>
              <a:pPr algn="ctr" defTabSz="1625529"/>
              <a:endParaRPr lang="en-US" sz="1778">
                <a:solidFill>
                  <a:prstClr val="black"/>
                </a:solidFill>
              </a:endParaRPr>
            </a:p>
          </p:txBody>
        </p:sp>
        <p:sp>
          <p:nvSpPr>
            <p:cNvPr id="36" name="Oval 35">
              <a:extLst>
                <a:ext uri="{FF2B5EF4-FFF2-40B4-BE49-F238E27FC236}">
                  <a16:creationId xmlns:a16="http://schemas.microsoft.com/office/drawing/2014/main" id="{79CA72C5-432B-47AA-A7B9-EA0A874886F5}"/>
                </a:ext>
              </a:extLst>
            </p:cNvPr>
            <p:cNvSpPr/>
            <p:nvPr/>
          </p:nvSpPr>
          <p:spPr>
            <a:xfrm>
              <a:off x="1899060" y="4501971"/>
              <a:ext cx="1101688" cy="1101680"/>
            </a:xfrm>
            <a:prstGeom prst="ellipse">
              <a:avLst/>
            </a:prstGeom>
            <a:solidFill>
              <a:schemeClr val="accent1">
                <a:lumMod val="75000"/>
              </a:schemeClr>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defPPr>
                <a:defRPr lang="en-US"/>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9pPr>
            </a:lstStyle>
            <a:p>
              <a:pPr algn="ctr" defTabSz="1625529"/>
              <a:endParaRPr lang="en-US" sz="1778">
                <a:solidFill>
                  <a:prstClr val="white"/>
                </a:solidFill>
              </a:endParaRPr>
            </a:p>
          </p:txBody>
        </p:sp>
        <p:sp>
          <p:nvSpPr>
            <p:cNvPr id="38" name="Oval 37">
              <a:extLst>
                <a:ext uri="{FF2B5EF4-FFF2-40B4-BE49-F238E27FC236}">
                  <a16:creationId xmlns:a16="http://schemas.microsoft.com/office/drawing/2014/main" id="{ED8C704F-95C6-44F5-AD19-5BFF677D80C0}"/>
                </a:ext>
              </a:extLst>
            </p:cNvPr>
            <p:cNvSpPr/>
            <p:nvPr/>
          </p:nvSpPr>
          <p:spPr>
            <a:xfrm>
              <a:off x="1587116" y="4400610"/>
              <a:ext cx="166977" cy="166977"/>
            </a:xfrm>
            <a:prstGeom prst="ellipse">
              <a:avLst/>
            </a:prstGeom>
            <a:solidFill>
              <a:schemeClr val="accent1"/>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9pPr>
            </a:lstStyle>
            <a:p>
              <a:pPr algn="ctr" defTabSz="1625529"/>
              <a:endParaRPr lang="en-US" sz="1778">
                <a:solidFill>
                  <a:prstClr val="white"/>
                </a:solidFill>
              </a:endParaRPr>
            </a:p>
          </p:txBody>
        </p:sp>
        <p:cxnSp>
          <p:nvCxnSpPr>
            <p:cNvPr id="41" name="Straight Connector 40">
              <a:extLst>
                <a:ext uri="{FF2B5EF4-FFF2-40B4-BE49-F238E27FC236}">
                  <a16:creationId xmlns:a16="http://schemas.microsoft.com/office/drawing/2014/main" id="{45EB0FF3-842E-4364-AB6B-FEC71262A8E2}"/>
                </a:ext>
              </a:extLst>
            </p:cNvPr>
            <p:cNvCxnSpPr>
              <a:stCxn id="38" idx="5"/>
              <a:endCxn id="35" idx="0"/>
            </p:cNvCxnSpPr>
            <p:nvPr/>
          </p:nvCxnSpPr>
          <p:spPr>
            <a:xfrm>
              <a:off x="1729638" y="4543133"/>
              <a:ext cx="187253" cy="144957"/>
            </a:xfrm>
            <a:prstGeom prst="line">
              <a:avLst/>
            </a:prstGeom>
            <a:solidFill>
              <a:schemeClr val="bg1"/>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cxnSp>
        <p:sp>
          <p:nvSpPr>
            <p:cNvPr id="17" name="Légende : encadrée à une bordure 73">
              <a:extLst>
                <a:ext uri="{FF2B5EF4-FFF2-40B4-BE49-F238E27FC236}">
                  <a16:creationId xmlns:a16="http://schemas.microsoft.com/office/drawing/2014/main" id="{5C0F7B6C-046D-45BA-8E9D-098FE5FC4780}"/>
                </a:ext>
              </a:extLst>
            </p:cNvPr>
            <p:cNvSpPr/>
            <p:nvPr/>
          </p:nvSpPr>
          <p:spPr>
            <a:xfrm>
              <a:off x="4320402" y="4517529"/>
              <a:ext cx="6636385" cy="13747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noAutofit/>
            </a:bodyPr>
            <a:lstStyle>
              <a:defPPr>
                <a:defRPr lang="en-US"/>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9pPr>
            </a:lstStyle>
            <a:p>
              <a:pPr algn="ctr"/>
              <a:r>
                <a:rPr lang="da-DK" sz="1800" dirty="0">
                  <a:solidFill>
                    <a:schemeClr val="tx1"/>
                  </a:solidFill>
                </a:rPr>
                <a:t>Uorden i økonomien er altødelæggende for Røde Kors</a:t>
              </a:r>
            </a:p>
          </p:txBody>
        </p:sp>
        <p:sp>
          <p:nvSpPr>
            <p:cNvPr id="18" name="Légende : encadrée à une bordure 73">
              <a:extLst>
                <a:ext uri="{FF2B5EF4-FFF2-40B4-BE49-F238E27FC236}">
                  <a16:creationId xmlns:a16="http://schemas.microsoft.com/office/drawing/2014/main" id="{E2DC30D4-0CFD-4F84-A672-A362B261AC3D}"/>
                </a:ext>
              </a:extLst>
            </p:cNvPr>
            <p:cNvSpPr/>
            <p:nvPr/>
          </p:nvSpPr>
          <p:spPr>
            <a:xfrm>
              <a:off x="4277963" y="4517529"/>
              <a:ext cx="42439" cy="137472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62556" tIns="81278" rIns="48767" bIns="81278" rtlCol="0" anchor="ctr">
              <a:noAutofit/>
            </a:bodyPr>
            <a:lstStyle>
              <a:defPPr>
                <a:defRPr lang="en-US"/>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defRPr>
              </a:lvl9pPr>
            </a:lstStyle>
            <a:p>
              <a:pPr marL="308850" indent="-308850" defTabSz="1625529">
                <a:lnSpc>
                  <a:spcPct val="95000"/>
                </a:lnSpc>
                <a:buChar char="•"/>
              </a:pPr>
              <a:endParaRPr lang="fr-FR" sz="1778" b="1">
                <a:solidFill>
                  <a:schemeClr val="tx1"/>
                </a:solidFill>
              </a:endParaRPr>
            </a:p>
          </p:txBody>
        </p:sp>
        <p:sp>
          <p:nvSpPr>
            <p:cNvPr id="53" name="Freeform: Shape 52">
              <a:extLst>
                <a:ext uri="{FF2B5EF4-FFF2-40B4-BE49-F238E27FC236}">
                  <a16:creationId xmlns:a16="http://schemas.microsoft.com/office/drawing/2014/main" id="{E1988863-E3FD-48F5-869F-CE1AEC6E46A0}"/>
                </a:ext>
              </a:extLst>
            </p:cNvPr>
            <p:cNvSpPr/>
            <p:nvPr/>
          </p:nvSpPr>
          <p:spPr>
            <a:xfrm>
              <a:off x="3305620" y="5141466"/>
              <a:ext cx="963246" cy="0"/>
            </a:xfrm>
            <a:custGeom>
              <a:avLst/>
              <a:gdLst>
                <a:gd name="connsiteX0" fmla="*/ 1630680 w 1630680"/>
                <a:gd name="connsiteY0" fmla="*/ 0 h 0"/>
                <a:gd name="connsiteX1" fmla="*/ 0 w 1630680"/>
                <a:gd name="connsiteY1" fmla="*/ 0 h 0"/>
                <a:gd name="connsiteX2" fmla="*/ 0 w 1630680"/>
                <a:gd name="connsiteY2" fmla="*/ 693420 h 693420"/>
              </a:gdLst>
              <a:ahLst/>
              <a:cxnLst>
                <a:cxn ang="0">
                  <a:pos x="connsiteX0" y="connsiteY0"/>
                </a:cxn>
                <a:cxn ang="0">
                  <a:pos x="connsiteX1" y="connsiteY1"/>
                </a:cxn>
              </a:cxnLst>
              <a:rect l="l" t="t" r="r" b="b"/>
              <a:pathLst>
                <a:path w="1630680">
                  <a:moveTo>
                    <a:pt x="1630680" y="0"/>
                  </a:moveTo>
                  <a:lnTo>
                    <a:pt x="0" y="0"/>
                  </a:lnTo>
                </a:path>
              </a:pathLst>
            </a:custGeom>
            <a:ln w="12700">
              <a:solidFill>
                <a:schemeClr val="accent1">
                  <a:lumMod val="75000"/>
                </a:schemeClr>
              </a:solidFill>
              <a:prstDash val="solid"/>
              <a:tailEnd type="oval" w="lg" len="lg"/>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1pPr>
              <a:lvl2pPr marL="457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2pPr>
              <a:lvl3pPr marL="914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3pPr>
              <a:lvl4pPr marL="1371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4pPr>
              <a:lvl5pPr marL="18288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5pPr>
              <a:lvl6pPr marL="22860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6pPr>
              <a:lvl7pPr marL="27432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7pPr>
              <a:lvl8pPr marL="32004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8pPr>
              <a:lvl9pPr marL="3657600" marR="0" indent="0" algn="l" defTabSz="9144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tx1"/>
                  </a:solidFill>
                  <a:uLnTx/>
                  <a:uFillTx/>
                </a:defRPr>
              </a:lvl9pPr>
            </a:lstStyle>
            <a:p>
              <a:pPr algn="ctr" defTabSz="1625529"/>
              <a:endParaRPr lang="en-US" sz="1778"/>
            </a:p>
          </p:txBody>
        </p:sp>
        <p:pic>
          <p:nvPicPr>
            <p:cNvPr id="9" name="Grafik 8">
              <a:extLst>
                <a:ext uri="{FF2B5EF4-FFF2-40B4-BE49-F238E27FC236}">
                  <a16:creationId xmlns:a16="http://schemas.microsoft.com/office/drawing/2014/main" id="{E6A74F50-0F8D-92E6-E80B-7908E99E865D}"/>
                </a:ext>
              </a:extLst>
            </p:cNvPr>
            <p:cNvPicPr>
              <a:picLocks noChangeAspect="1"/>
            </p:cNvPicPr>
            <p:nvPr>
              <p:custDataLst>
                <p:tags r:id="rId4"/>
              </p:custDataLst>
            </p:nvPr>
          </p:nvPicPr>
          <p:blipFill>
            <a:blip r:embed="rId14">
              <a:extLst>
                <a:ext uri="{96DAC541-7B7A-43D3-8B79-37D633B846F1}">
                  <asvg:svgBlip xmlns:asvg="http://schemas.microsoft.com/office/drawing/2016/SVG/main" r:embed="rId15"/>
                </a:ext>
              </a:extLst>
            </a:blip>
            <a:stretch>
              <a:fillRect/>
            </a:stretch>
          </p:blipFill>
          <p:spPr>
            <a:xfrm>
              <a:off x="2189935" y="4814308"/>
              <a:ext cx="476250" cy="476250"/>
            </a:xfrm>
            <a:prstGeom prst="rect">
              <a:avLst/>
            </a:prstGeom>
          </p:spPr>
        </p:pic>
      </p:grpSp>
      <p:sp>
        <p:nvSpPr>
          <p:cNvPr id="2" name="Pladsholder til sidefod 1">
            <a:extLst>
              <a:ext uri="{FF2B5EF4-FFF2-40B4-BE49-F238E27FC236}">
                <a16:creationId xmlns:a16="http://schemas.microsoft.com/office/drawing/2014/main" id="{3AE646C9-9AFA-3666-7E24-7A6B7D35D2FD}"/>
              </a:ext>
            </a:extLst>
          </p:cNvPr>
          <p:cNvSpPr>
            <a:spLocks noGrp="1"/>
          </p:cNvSpPr>
          <p:nvPr>
            <p:ph type="ftr" sz="quarter" idx="11"/>
          </p:nvPr>
        </p:nvSpPr>
        <p:spPr/>
        <p:txBody>
          <a:bodyPr/>
          <a:lstStyle/>
          <a:p>
            <a:r>
              <a:rPr lang="da-DK"/>
              <a:t>RØDE KORS / Introduktionskursus for nye kasserere / 2025</a:t>
            </a:r>
          </a:p>
        </p:txBody>
      </p:sp>
    </p:spTree>
    <p:custDataLst>
      <p:tags r:id="rId1"/>
    </p:custDataLst>
    <p:extLst>
      <p:ext uri="{BB962C8B-B14F-4D97-AF65-F5344CB8AC3E}">
        <p14:creationId xmlns:p14="http://schemas.microsoft.com/office/powerpoint/2010/main" val="40925617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da-DK" sz="4000" dirty="0"/>
              <a:t>Vedtægterne</a:t>
            </a:r>
            <a:endParaRPr lang="da-DK" sz="6000" dirty="0"/>
          </a:p>
        </p:txBody>
      </p:sp>
      <p:sp>
        <p:nvSpPr>
          <p:cNvPr id="6" name="Rektangel 5">
            <a:extLst>
              <a:ext uri="{FF2B5EF4-FFF2-40B4-BE49-F238E27FC236}">
                <a16:creationId xmlns:a16="http://schemas.microsoft.com/office/drawing/2014/main" id="{B24CE997-66FE-6775-451F-B36026633933}"/>
              </a:ext>
            </a:extLst>
          </p:cNvPr>
          <p:cNvSpPr/>
          <p:nvPr/>
        </p:nvSpPr>
        <p:spPr>
          <a:xfrm>
            <a:off x="1028700" y="1392058"/>
            <a:ext cx="10325098" cy="4742041"/>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 name="Content Placeholder 2"/>
          <p:cNvSpPr>
            <a:spLocks noGrp="1"/>
          </p:cNvSpPr>
          <p:nvPr>
            <p:ph idx="1"/>
          </p:nvPr>
        </p:nvSpPr>
        <p:spPr>
          <a:xfrm>
            <a:off x="1741692" y="1777117"/>
            <a:ext cx="8909135" cy="4742041"/>
          </a:xfrm>
        </p:spPr>
        <p:txBody>
          <a:bodyPr>
            <a:normAutofit/>
          </a:bodyPr>
          <a:lstStyle/>
          <a:p>
            <a:r>
              <a:rPr lang="da-DK" sz="1400" dirty="0"/>
              <a:t>Afdelinger er del af </a:t>
            </a:r>
            <a:r>
              <a:rPr lang="da-DK" sz="1400" b="1" dirty="0"/>
              <a:t>landsforeningen </a:t>
            </a:r>
            <a:r>
              <a:rPr lang="da-DK" sz="1400" dirty="0"/>
              <a:t>Røde Kors i Danmark (§ 6)</a:t>
            </a:r>
          </a:p>
          <a:p>
            <a:r>
              <a:rPr lang="da-DK" sz="1400" b="1" dirty="0"/>
              <a:t>Bestyrelsen</a:t>
            </a:r>
            <a:r>
              <a:rPr lang="da-DK" sz="1400" dirty="0"/>
              <a:t> har ansvaret for at forvalte afdelingens midler (§ 11, 1)</a:t>
            </a:r>
          </a:p>
          <a:p>
            <a:r>
              <a:rPr lang="da-DK" sz="1400" dirty="0"/>
              <a:t>Bestyrelsen konstituerer sig med </a:t>
            </a:r>
            <a:r>
              <a:rPr lang="da-DK" sz="1400" b="1" dirty="0"/>
              <a:t>kasserer </a:t>
            </a:r>
            <a:r>
              <a:rPr lang="da-DK" sz="1400" dirty="0"/>
              <a:t>(§ 10, 2)</a:t>
            </a:r>
          </a:p>
          <a:p>
            <a:r>
              <a:rPr lang="da-DK" sz="1400" b="1" dirty="0"/>
              <a:t>Beslutninger</a:t>
            </a:r>
            <a:r>
              <a:rPr lang="da-DK" sz="1400" dirty="0"/>
              <a:t> tages af flertallet i bestyrelsen – formandens stemme udslagsgivende (§ 11, 2)</a:t>
            </a:r>
          </a:p>
          <a:p>
            <a:r>
              <a:rPr lang="da-DK" sz="1400" dirty="0"/>
              <a:t>Afdelingen tegnes af formanden og kassereren </a:t>
            </a:r>
            <a:r>
              <a:rPr lang="da-DK" sz="1400" b="1" dirty="0"/>
              <a:t>i forening</a:t>
            </a:r>
            <a:r>
              <a:rPr lang="da-DK" sz="1400" dirty="0"/>
              <a:t> (§ 11, 3)</a:t>
            </a:r>
          </a:p>
          <a:p>
            <a:r>
              <a:rPr lang="da-DK" sz="1400" b="1" dirty="0"/>
              <a:t>Regnskabsåret</a:t>
            </a:r>
            <a:r>
              <a:rPr lang="da-DK" sz="1400" dirty="0"/>
              <a:t> går fra den 1. januar til den 31. december (§ 11, 5)</a:t>
            </a:r>
          </a:p>
          <a:p>
            <a:r>
              <a:rPr lang="da-DK" sz="1400" b="1" dirty="0"/>
              <a:t>Generalforsamling </a:t>
            </a:r>
            <a:r>
              <a:rPr lang="da-DK" sz="1400" dirty="0"/>
              <a:t>holdes inden udgangen af februar måned (§ 9, 1)</a:t>
            </a:r>
          </a:p>
          <a:p>
            <a:r>
              <a:rPr lang="da-DK" sz="1400" dirty="0"/>
              <a:t>Generalforsamlingen vælger </a:t>
            </a:r>
            <a:r>
              <a:rPr lang="da-DK" sz="1400" b="1" dirty="0"/>
              <a:t>revisor </a:t>
            </a:r>
            <a:r>
              <a:rPr lang="da-DK" sz="1400" dirty="0"/>
              <a:t>(2 regnskabskyndige eller registreret/autoriseret) (§ 9, 7)</a:t>
            </a:r>
          </a:p>
          <a:p>
            <a:r>
              <a:rPr lang="da-DK" sz="1400" dirty="0"/>
              <a:t>Røde Kors kan </a:t>
            </a:r>
            <a:r>
              <a:rPr lang="da-DK" sz="1400" b="1" dirty="0"/>
              <a:t>ikke give støtte </a:t>
            </a:r>
            <a:r>
              <a:rPr lang="da-DK" sz="1400" dirty="0"/>
              <a:t>til formål udenfor Røde Kors (§ 5, 2)</a:t>
            </a:r>
          </a:p>
          <a:p>
            <a:r>
              <a:rPr lang="da-DK" sz="1400" dirty="0"/>
              <a:t>Landskontoret tegner </a:t>
            </a:r>
            <a:r>
              <a:rPr lang="da-DK" sz="1400" b="1" dirty="0"/>
              <a:t>forsikring</a:t>
            </a:r>
            <a:r>
              <a:rPr lang="da-DK" sz="1400" dirty="0"/>
              <a:t> for alle frivillige (§ 13, 3)</a:t>
            </a:r>
          </a:p>
          <a:p>
            <a:endParaRPr lang="da-DK" sz="1600" dirty="0"/>
          </a:p>
        </p:txBody>
      </p:sp>
      <p:sp>
        <p:nvSpPr>
          <p:cNvPr id="4" name="Footer Placeholder 3"/>
          <p:cNvSpPr>
            <a:spLocks noGrp="1"/>
          </p:cNvSpPr>
          <p:nvPr>
            <p:ph type="ftr" sz="quarter" idx="11"/>
          </p:nvPr>
        </p:nvSpPr>
        <p:spPr/>
        <p:txBody>
          <a:bodyPr/>
          <a:lstStyle/>
          <a:p>
            <a:r>
              <a:rPr lang="da-DK" noProof="0"/>
              <a:t>RØDE KORS / Introduktionskursus for nye kasserere / 2025</a:t>
            </a:r>
          </a:p>
        </p:txBody>
      </p:sp>
      <p:sp>
        <p:nvSpPr>
          <p:cNvPr id="7" name="Ellipse 6">
            <a:extLst>
              <a:ext uri="{FF2B5EF4-FFF2-40B4-BE49-F238E27FC236}">
                <a16:creationId xmlns:a16="http://schemas.microsoft.com/office/drawing/2014/main" id="{875F920B-7A66-3C31-896B-D1327798C0C3}"/>
              </a:ext>
            </a:extLst>
          </p:cNvPr>
          <p:cNvSpPr/>
          <p:nvPr/>
        </p:nvSpPr>
        <p:spPr>
          <a:xfrm>
            <a:off x="411478" y="3009900"/>
            <a:ext cx="1150620" cy="1150620"/>
          </a:xfrm>
          <a:prstGeom prst="ellipse">
            <a:avLst/>
          </a:prstGeom>
          <a:solidFill>
            <a:schemeClr val="accent1">
              <a:lumMod val="75000"/>
            </a:schemeClr>
          </a:solidFill>
          <a:ln w="381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9" name="Grafik 8" descr="Håndtryk kontur">
            <a:extLst>
              <a:ext uri="{FF2B5EF4-FFF2-40B4-BE49-F238E27FC236}">
                <a16:creationId xmlns:a16="http://schemas.microsoft.com/office/drawing/2014/main" id="{05DF9D11-B4AE-BABB-E669-4414E372AFF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1027" y="3219449"/>
            <a:ext cx="731522" cy="731522"/>
          </a:xfrm>
          <a:prstGeom prst="rect">
            <a:avLst/>
          </a:prstGeom>
        </p:spPr>
      </p:pic>
    </p:spTree>
    <p:extLst>
      <p:ext uri="{BB962C8B-B14F-4D97-AF65-F5344CB8AC3E}">
        <p14:creationId xmlns:p14="http://schemas.microsoft.com/office/powerpoint/2010/main" val="38855036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EAA1E3A-3EEE-7DB0-2494-4CFD1A188889}"/>
              </a:ext>
            </a:extLst>
          </p:cNvPr>
          <p:cNvSpPr>
            <a:spLocks noGrp="1"/>
          </p:cNvSpPr>
          <p:nvPr>
            <p:ph type="title"/>
          </p:nvPr>
        </p:nvSpPr>
        <p:spPr>
          <a:xfrm>
            <a:off x="761796" y="481730"/>
            <a:ext cx="5334197" cy="1164208"/>
          </a:xfrm>
        </p:spPr>
        <p:txBody>
          <a:bodyPr anchor="ctr">
            <a:normAutofit/>
          </a:bodyPr>
          <a:lstStyle/>
          <a:p>
            <a:r>
              <a:rPr lang="da-DK" sz="3700"/>
              <a:t>Økonomivejledning</a:t>
            </a:r>
          </a:p>
        </p:txBody>
      </p:sp>
      <p:sp>
        <p:nvSpPr>
          <p:cNvPr id="4" name="Pladsholder til sidefod 3">
            <a:extLst>
              <a:ext uri="{FF2B5EF4-FFF2-40B4-BE49-F238E27FC236}">
                <a16:creationId xmlns:a16="http://schemas.microsoft.com/office/drawing/2014/main" id="{D03EF770-0ABD-F50E-D7D8-A32DA01BC9F7}"/>
              </a:ext>
            </a:extLst>
          </p:cNvPr>
          <p:cNvSpPr>
            <a:spLocks noGrp="1"/>
          </p:cNvSpPr>
          <p:nvPr>
            <p:ph type="ftr" sz="quarter" idx="11"/>
          </p:nvPr>
        </p:nvSpPr>
        <p:spPr>
          <a:xfrm>
            <a:off x="1782380" y="6327505"/>
            <a:ext cx="9359095" cy="365125"/>
          </a:xfrm>
        </p:spPr>
        <p:txBody>
          <a:bodyPr>
            <a:normAutofit/>
          </a:bodyPr>
          <a:lstStyle/>
          <a:p>
            <a:pPr>
              <a:spcAft>
                <a:spcPts val="600"/>
              </a:spcAft>
            </a:pPr>
            <a:r>
              <a:rPr lang="da-DK" dirty="0"/>
              <a:t>RØDE KORS / Introduktionskursus for nye kasserere / 2025</a:t>
            </a:r>
          </a:p>
        </p:txBody>
      </p:sp>
      <p:sp>
        <p:nvSpPr>
          <p:cNvPr id="9" name="Rektangel: afrundede hjørner 8">
            <a:extLst>
              <a:ext uri="{FF2B5EF4-FFF2-40B4-BE49-F238E27FC236}">
                <a16:creationId xmlns:a16="http://schemas.microsoft.com/office/drawing/2014/main" id="{3BEBED7F-C7FC-550D-C52B-D3F68265B8AB}"/>
              </a:ext>
            </a:extLst>
          </p:cNvPr>
          <p:cNvSpPr/>
          <p:nvPr/>
        </p:nvSpPr>
        <p:spPr>
          <a:xfrm>
            <a:off x="761797" y="5142879"/>
            <a:ext cx="5467092" cy="892934"/>
          </a:xfrm>
          <a:prstGeom prst="roundRect">
            <a:avLst>
              <a:gd name="adj" fmla="val 1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da-DK"/>
          </a:p>
        </p:txBody>
      </p:sp>
      <p:sp>
        <p:nvSpPr>
          <p:cNvPr id="10" name="Rektangel: afrundede hjørner 9">
            <a:extLst>
              <a:ext uri="{FF2B5EF4-FFF2-40B4-BE49-F238E27FC236}">
                <a16:creationId xmlns:a16="http://schemas.microsoft.com/office/drawing/2014/main" id="{212B73EC-DAAD-D752-AADB-7941900CB30C}"/>
              </a:ext>
            </a:extLst>
          </p:cNvPr>
          <p:cNvSpPr/>
          <p:nvPr/>
        </p:nvSpPr>
        <p:spPr>
          <a:xfrm>
            <a:off x="761797" y="1967967"/>
            <a:ext cx="5467093" cy="892934"/>
          </a:xfrm>
          <a:prstGeom prst="roundRect">
            <a:avLst>
              <a:gd name="adj" fmla="val 1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da-DK"/>
          </a:p>
        </p:txBody>
      </p:sp>
      <p:sp>
        <p:nvSpPr>
          <p:cNvPr id="11" name="Rektangel: afrundede hjørner 10">
            <a:extLst>
              <a:ext uri="{FF2B5EF4-FFF2-40B4-BE49-F238E27FC236}">
                <a16:creationId xmlns:a16="http://schemas.microsoft.com/office/drawing/2014/main" id="{E0BE5F0A-B4E3-3CF2-1A4F-B71393581A2E}"/>
              </a:ext>
            </a:extLst>
          </p:cNvPr>
          <p:cNvSpPr/>
          <p:nvPr/>
        </p:nvSpPr>
        <p:spPr>
          <a:xfrm>
            <a:off x="761796" y="3032627"/>
            <a:ext cx="5467093" cy="892934"/>
          </a:xfrm>
          <a:prstGeom prst="roundRect">
            <a:avLst>
              <a:gd name="adj" fmla="val 1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da-DK"/>
          </a:p>
        </p:txBody>
      </p:sp>
      <p:sp>
        <p:nvSpPr>
          <p:cNvPr id="12" name="Rektangel: afrundede hjørner 11">
            <a:extLst>
              <a:ext uri="{FF2B5EF4-FFF2-40B4-BE49-F238E27FC236}">
                <a16:creationId xmlns:a16="http://schemas.microsoft.com/office/drawing/2014/main" id="{12717012-A5ED-B740-3931-21D7716F20F6}"/>
              </a:ext>
            </a:extLst>
          </p:cNvPr>
          <p:cNvSpPr/>
          <p:nvPr/>
        </p:nvSpPr>
        <p:spPr>
          <a:xfrm>
            <a:off x="761797" y="4084575"/>
            <a:ext cx="5467092" cy="892934"/>
          </a:xfrm>
          <a:prstGeom prst="roundRect">
            <a:avLst>
              <a:gd name="adj" fmla="val 10000"/>
            </a:avLst>
          </a:prstGeom>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da-DK"/>
          </a:p>
        </p:txBody>
      </p:sp>
      <p:sp>
        <p:nvSpPr>
          <p:cNvPr id="14" name="Rektangel 13">
            <a:extLst>
              <a:ext uri="{FF2B5EF4-FFF2-40B4-BE49-F238E27FC236}">
                <a16:creationId xmlns:a16="http://schemas.microsoft.com/office/drawing/2014/main" id="{1BA14840-16CC-4DDF-721D-312906027DDA}"/>
              </a:ext>
            </a:extLst>
          </p:cNvPr>
          <p:cNvSpPr/>
          <p:nvPr/>
        </p:nvSpPr>
        <p:spPr>
          <a:xfrm>
            <a:off x="3774254" y="3037644"/>
            <a:ext cx="4237017" cy="792216"/>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da-DK"/>
          </a:p>
        </p:txBody>
      </p:sp>
      <p:grpSp>
        <p:nvGrpSpPr>
          <p:cNvPr id="17" name="Gruppe 16">
            <a:extLst>
              <a:ext uri="{FF2B5EF4-FFF2-40B4-BE49-F238E27FC236}">
                <a16:creationId xmlns:a16="http://schemas.microsoft.com/office/drawing/2014/main" id="{871FB83C-4B97-41C3-AB59-4FA68CE2174F}"/>
              </a:ext>
            </a:extLst>
          </p:cNvPr>
          <p:cNvGrpSpPr/>
          <p:nvPr/>
        </p:nvGrpSpPr>
        <p:grpSpPr>
          <a:xfrm>
            <a:off x="1782380" y="3082986"/>
            <a:ext cx="4446513" cy="792216"/>
            <a:chOff x="861586" y="993674"/>
            <a:chExt cx="4446513" cy="792216"/>
          </a:xfrm>
        </p:grpSpPr>
        <p:sp>
          <p:nvSpPr>
            <p:cNvPr id="18" name="Rektangel 17">
              <a:extLst>
                <a:ext uri="{FF2B5EF4-FFF2-40B4-BE49-F238E27FC236}">
                  <a16:creationId xmlns:a16="http://schemas.microsoft.com/office/drawing/2014/main" id="{7A0C930D-7F70-E17E-B993-725F63552E99}"/>
                </a:ext>
              </a:extLst>
            </p:cNvPr>
            <p:cNvSpPr/>
            <p:nvPr/>
          </p:nvSpPr>
          <p:spPr>
            <a:xfrm>
              <a:off x="861586" y="993674"/>
              <a:ext cx="4446513" cy="792216"/>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da-DK"/>
            </a:p>
          </p:txBody>
        </p:sp>
        <p:sp>
          <p:nvSpPr>
            <p:cNvPr id="19" name="Tekstfelt 18">
              <a:extLst>
                <a:ext uri="{FF2B5EF4-FFF2-40B4-BE49-F238E27FC236}">
                  <a16:creationId xmlns:a16="http://schemas.microsoft.com/office/drawing/2014/main" id="{578F93BC-7C60-0E5C-6545-F67859028EA1}"/>
                </a:ext>
              </a:extLst>
            </p:cNvPr>
            <p:cNvSpPr txBox="1"/>
            <p:nvPr/>
          </p:nvSpPr>
          <p:spPr>
            <a:xfrm>
              <a:off x="861586" y="993674"/>
              <a:ext cx="4446513" cy="79221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83843" tIns="83843" rIns="83843" bIns="83843" numCol="1" spcCol="1270" anchor="ctr" anchorCtr="0">
              <a:noAutofit/>
            </a:bodyPr>
            <a:lstStyle/>
            <a:p>
              <a:pPr marL="0" lvl="0" indent="0" algn="l" defTabSz="622300">
                <a:lnSpc>
                  <a:spcPct val="100000"/>
                </a:lnSpc>
                <a:spcBef>
                  <a:spcPct val="0"/>
                </a:spcBef>
                <a:spcAft>
                  <a:spcPct val="35000"/>
                </a:spcAft>
                <a:buNone/>
              </a:pPr>
              <a:r>
                <a:rPr lang="da-DK" sz="1400" kern="1200" dirty="0"/>
                <a:t>Den er rammen om afdelingernes arbejde og specifikt om kassererens opgave.</a:t>
              </a:r>
              <a:endParaRPr lang="en-US" sz="1400" kern="1200" dirty="0"/>
            </a:p>
          </p:txBody>
        </p:sp>
      </p:grpSp>
      <p:grpSp>
        <p:nvGrpSpPr>
          <p:cNvPr id="24" name="Gruppe 23">
            <a:extLst>
              <a:ext uri="{FF2B5EF4-FFF2-40B4-BE49-F238E27FC236}">
                <a16:creationId xmlns:a16="http://schemas.microsoft.com/office/drawing/2014/main" id="{1FB7BBA4-8CAB-30A1-4CA5-3A80533AA508}"/>
              </a:ext>
            </a:extLst>
          </p:cNvPr>
          <p:cNvGrpSpPr/>
          <p:nvPr/>
        </p:nvGrpSpPr>
        <p:grpSpPr>
          <a:xfrm>
            <a:off x="1782378" y="5195634"/>
            <a:ext cx="4446513" cy="792216"/>
            <a:chOff x="861586" y="2974214"/>
            <a:chExt cx="4446513" cy="792216"/>
          </a:xfrm>
        </p:grpSpPr>
        <p:sp>
          <p:nvSpPr>
            <p:cNvPr id="25" name="Rektangel 24">
              <a:extLst>
                <a:ext uri="{FF2B5EF4-FFF2-40B4-BE49-F238E27FC236}">
                  <a16:creationId xmlns:a16="http://schemas.microsoft.com/office/drawing/2014/main" id="{31AC641C-870E-8DA4-7EA7-099933448E8F}"/>
                </a:ext>
              </a:extLst>
            </p:cNvPr>
            <p:cNvSpPr/>
            <p:nvPr/>
          </p:nvSpPr>
          <p:spPr>
            <a:xfrm>
              <a:off x="861586" y="2974214"/>
              <a:ext cx="4446513" cy="792216"/>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da-DK"/>
            </a:p>
          </p:txBody>
        </p:sp>
        <p:sp>
          <p:nvSpPr>
            <p:cNvPr id="26" name="Tekstfelt 25">
              <a:extLst>
                <a:ext uri="{FF2B5EF4-FFF2-40B4-BE49-F238E27FC236}">
                  <a16:creationId xmlns:a16="http://schemas.microsoft.com/office/drawing/2014/main" id="{A0C5DF99-15A5-6629-EC7B-549453AD8267}"/>
                </a:ext>
              </a:extLst>
            </p:cNvPr>
            <p:cNvSpPr txBox="1"/>
            <p:nvPr/>
          </p:nvSpPr>
          <p:spPr>
            <a:xfrm>
              <a:off x="861586" y="2974214"/>
              <a:ext cx="4446513" cy="79221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83843" tIns="83843" rIns="83843" bIns="83843" numCol="1" spcCol="1270" anchor="ctr" anchorCtr="0">
              <a:noAutofit/>
            </a:bodyPr>
            <a:lstStyle/>
            <a:p>
              <a:pPr marL="0" lvl="0" indent="0" algn="l" defTabSz="622300">
                <a:lnSpc>
                  <a:spcPct val="100000"/>
                </a:lnSpc>
                <a:spcBef>
                  <a:spcPct val="0"/>
                </a:spcBef>
                <a:spcAft>
                  <a:spcPct val="35000"/>
                </a:spcAft>
                <a:buNone/>
              </a:pPr>
              <a:r>
                <a:rPr lang="da-DK" sz="1400" dirty="0"/>
                <a:t>Søg på Økonomivejledning på Mit Røde Kors eller brug link:</a:t>
              </a:r>
              <a:br>
                <a:rPr lang="da-DK" sz="1400" dirty="0"/>
              </a:br>
              <a:r>
                <a:rPr lang="da-DK" sz="1400" dirty="0">
                  <a:hlinkClick r:id="rId7"/>
                </a:rPr>
                <a:t>Økonomivejledning 26.08.2024.pdf</a:t>
              </a:r>
              <a:endParaRPr lang="da-DK" sz="1200" dirty="0">
                <a:hlinkClick r:id="rId8"/>
              </a:endParaRPr>
            </a:p>
          </p:txBody>
        </p:sp>
      </p:grpSp>
      <p:pic>
        <p:nvPicPr>
          <p:cNvPr id="28" name="Grafik 27">
            <a:extLst>
              <a:ext uri="{FF2B5EF4-FFF2-40B4-BE49-F238E27FC236}">
                <a16:creationId xmlns:a16="http://schemas.microsoft.com/office/drawing/2014/main" id="{7D5CF71E-EE21-817A-5DA2-579BA1099C19}"/>
              </a:ext>
            </a:extLst>
          </p:cNvPr>
          <p:cNvPicPr>
            <a:picLocks noChangeAspect="1"/>
          </p:cNvPicPr>
          <p:nvPr>
            <p:custDataLst>
              <p:tags r:id="rId1"/>
            </p:custDataLst>
          </p:nvPr>
        </p:nvPicPr>
        <p:blipFill>
          <a:blip r:embed="rId9">
            <a:extLst>
              <a:ext uri="{96DAC541-7B7A-43D3-8B79-37D633B846F1}">
                <asvg:svgBlip xmlns:asvg="http://schemas.microsoft.com/office/drawing/2016/SVG/main" r:embed="rId10"/>
              </a:ext>
            </a:extLst>
          </a:blip>
          <a:stretch>
            <a:fillRect/>
          </a:stretch>
        </p:blipFill>
        <p:spPr>
          <a:xfrm>
            <a:off x="1033963" y="2171932"/>
            <a:ext cx="476250" cy="476250"/>
          </a:xfrm>
          <a:prstGeom prst="rect">
            <a:avLst/>
          </a:prstGeom>
        </p:spPr>
      </p:pic>
      <p:pic>
        <p:nvPicPr>
          <p:cNvPr id="30" name="Grafik 29">
            <a:extLst>
              <a:ext uri="{FF2B5EF4-FFF2-40B4-BE49-F238E27FC236}">
                <a16:creationId xmlns:a16="http://schemas.microsoft.com/office/drawing/2014/main" id="{93BB5293-5045-2657-3108-3C112476912E}"/>
              </a:ext>
            </a:extLst>
          </p:cNvPr>
          <p:cNvPicPr>
            <a:picLocks noChangeAspect="1"/>
          </p:cNvPicPr>
          <p:nvPr>
            <p:custDataLst>
              <p:tags r:id="rId2"/>
            </p:custDataLst>
          </p:nvPr>
        </p:nvPicPr>
        <p:blipFill>
          <a:blip r:embed="rId11">
            <a:extLst>
              <a:ext uri="{96DAC541-7B7A-43D3-8B79-37D633B846F1}">
                <asvg:svgBlip xmlns:asvg="http://schemas.microsoft.com/office/drawing/2016/SVG/main" r:embed="rId12"/>
              </a:ext>
            </a:extLst>
          </a:blip>
          <a:stretch>
            <a:fillRect/>
          </a:stretch>
        </p:blipFill>
        <p:spPr>
          <a:xfrm>
            <a:off x="1033963" y="5351221"/>
            <a:ext cx="476250" cy="476250"/>
          </a:xfrm>
          <a:prstGeom prst="rect">
            <a:avLst/>
          </a:prstGeom>
        </p:spPr>
      </p:pic>
      <p:sp>
        <p:nvSpPr>
          <p:cNvPr id="31" name="Tekstfelt 30">
            <a:extLst>
              <a:ext uri="{FF2B5EF4-FFF2-40B4-BE49-F238E27FC236}">
                <a16:creationId xmlns:a16="http://schemas.microsoft.com/office/drawing/2014/main" id="{6C1E2599-F0E6-BC9C-54B3-2A24986E3A21}"/>
              </a:ext>
            </a:extLst>
          </p:cNvPr>
          <p:cNvSpPr txBox="1"/>
          <p:nvPr/>
        </p:nvSpPr>
        <p:spPr>
          <a:xfrm>
            <a:off x="1782378" y="2036804"/>
            <a:ext cx="4446513" cy="954107"/>
          </a:xfrm>
          <a:prstGeom prst="rect">
            <a:avLst/>
          </a:prstGeom>
          <a:noFill/>
        </p:spPr>
        <p:txBody>
          <a:bodyPr wrap="square" rtlCol="0">
            <a:spAutoFit/>
          </a:bodyPr>
          <a:lstStyle/>
          <a:p>
            <a:r>
              <a:rPr lang="da-DK" sz="1400" kern="1200" dirty="0"/>
              <a:t>Økonomivejledningen er Røde Kors’ grundlov på økonomiområdet og uddyber vedtægternes bestemmelser vedr. økonomiske spørgsmål.</a:t>
            </a:r>
            <a:endParaRPr lang="en-US" sz="1400" kern="1200" dirty="0"/>
          </a:p>
          <a:p>
            <a:pPr algn="l"/>
            <a:endParaRPr lang="da-DK" sz="1400" dirty="0"/>
          </a:p>
        </p:txBody>
      </p:sp>
      <p:sp>
        <p:nvSpPr>
          <p:cNvPr id="32" name="Tekstfelt 31">
            <a:extLst>
              <a:ext uri="{FF2B5EF4-FFF2-40B4-BE49-F238E27FC236}">
                <a16:creationId xmlns:a16="http://schemas.microsoft.com/office/drawing/2014/main" id="{2491E92D-5372-5DB1-7E38-44D9158DEA18}"/>
              </a:ext>
            </a:extLst>
          </p:cNvPr>
          <p:cNvSpPr txBox="1"/>
          <p:nvPr/>
        </p:nvSpPr>
        <p:spPr>
          <a:xfrm>
            <a:off x="1782377" y="4053988"/>
            <a:ext cx="4446513" cy="954107"/>
          </a:xfrm>
          <a:prstGeom prst="rect">
            <a:avLst/>
          </a:prstGeom>
          <a:noFill/>
        </p:spPr>
        <p:txBody>
          <a:bodyPr wrap="square" rtlCol="0">
            <a:spAutoFit/>
          </a:bodyPr>
          <a:lstStyle/>
          <a:p>
            <a:pPr marL="0" lvl="0" indent="0" algn="l" defTabSz="622300">
              <a:lnSpc>
                <a:spcPct val="100000"/>
              </a:lnSpc>
              <a:spcBef>
                <a:spcPct val="0"/>
              </a:spcBef>
              <a:spcAft>
                <a:spcPct val="35000"/>
              </a:spcAft>
              <a:buNone/>
            </a:pPr>
            <a:r>
              <a:rPr lang="da-DK" sz="1400" kern="1200" dirty="0"/>
              <a:t>Den seneste udgave er godkendt i august 2024, hvor det er understreget, at alle afdelinger skal anvende det fælles økonomisystem.</a:t>
            </a:r>
            <a:endParaRPr lang="en-US" sz="1400" kern="1200" dirty="0"/>
          </a:p>
        </p:txBody>
      </p:sp>
      <p:pic>
        <p:nvPicPr>
          <p:cNvPr id="33" name="Grafik 32">
            <a:extLst>
              <a:ext uri="{FF2B5EF4-FFF2-40B4-BE49-F238E27FC236}">
                <a16:creationId xmlns:a16="http://schemas.microsoft.com/office/drawing/2014/main" id="{FF3D7EC9-A38D-1ABE-AC39-146B4FBB4426}"/>
              </a:ext>
            </a:extLst>
          </p:cNvPr>
          <p:cNvPicPr>
            <a:picLocks noChangeAspect="1"/>
          </p:cNvPicPr>
          <p:nvPr>
            <p:custDataLst>
              <p:tags r:id="rId3"/>
            </p:custDataLst>
          </p:nvPr>
        </p:nvPicPr>
        <p:blipFill>
          <a:blip r:embed="rId13">
            <a:extLst>
              <a:ext uri="{96DAC541-7B7A-43D3-8B79-37D633B846F1}">
                <asvg:svgBlip xmlns:asvg="http://schemas.microsoft.com/office/drawing/2016/SVG/main" r:embed="rId14"/>
              </a:ext>
            </a:extLst>
          </a:blip>
          <a:stretch>
            <a:fillRect/>
          </a:stretch>
        </p:blipFill>
        <p:spPr>
          <a:xfrm>
            <a:off x="1033963" y="3240969"/>
            <a:ext cx="476250" cy="476250"/>
          </a:xfrm>
          <a:prstGeom prst="rect">
            <a:avLst/>
          </a:prstGeom>
        </p:spPr>
      </p:pic>
      <p:pic>
        <p:nvPicPr>
          <p:cNvPr id="34" name="Grafik 33">
            <a:extLst>
              <a:ext uri="{FF2B5EF4-FFF2-40B4-BE49-F238E27FC236}">
                <a16:creationId xmlns:a16="http://schemas.microsoft.com/office/drawing/2014/main" id="{388A2158-9418-5C01-99BE-AB63F1C2B2C3}"/>
              </a:ext>
            </a:extLst>
          </p:cNvPr>
          <p:cNvPicPr>
            <a:picLocks noChangeAspect="1"/>
          </p:cNvPicPr>
          <p:nvPr>
            <p:custDataLst>
              <p:tags r:id="rId4"/>
            </p:custDataLst>
          </p:nvPr>
        </p:nvPicPr>
        <p:blipFill>
          <a:blip r:embed="rId15">
            <a:extLst>
              <a:ext uri="{96DAC541-7B7A-43D3-8B79-37D633B846F1}">
                <asvg:svgBlip xmlns:asvg="http://schemas.microsoft.com/office/drawing/2016/SVG/main" r:embed="rId16"/>
              </a:ext>
            </a:extLst>
          </a:blip>
          <a:stretch>
            <a:fillRect/>
          </a:stretch>
        </p:blipFill>
        <p:spPr>
          <a:xfrm>
            <a:off x="1033963" y="4292916"/>
            <a:ext cx="476250" cy="476250"/>
          </a:xfrm>
          <a:prstGeom prst="rect">
            <a:avLst/>
          </a:prstGeom>
        </p:spPr>
      </p:pic>
      <p:pic>
        <p:nvPicPr>
          <p:cNvPr id="13" name="Billede 12" descr="Forside Økonomivejledning 2024">
            <a:extLst>
              <a:ext uri="{FF2B5EF4-FFF2-40B4-BE49-F238E27FC236}">
                <a16:creationId xmlns:a16="http://schemas.microsoft.com/office/drawing/2014/main" id="{4471645C-27BB-8C3C-3A54-FB65D95F8BA4}"/>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6913684" y="307988"/>
            <a:ext cx="4571600" cy="5871511"/>
          </a:xfrm>
          <a:prstGeom prst="rect">
            <a:avLst/>
          </a:prstGeom>
        </p:spPr>
      </p:pic>
    </p:spTree>
    <p:extLst>
      <p:ext uri="{BB962C8B-B14F-4D97-AF65-F5344CB8AC3E}">
        <p14:creationId xmlns:p14="http://schemas.microsoft.com/office/powerpoint/2010/main" val="42761358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LIDEHUB_TYPE" val="ICON"/>
</p:tagLst>
</file>

<file path=ppt/tags/tag11.xml><?xml version="1.0" encoding="utf-8"?>
<p:tagLst xmlns:a="http://schemas.openxmlformats.org/drawingml/2006/main" xmlns:r="http://schemas.openxmlformats.org/officeDocument/2006/relationships" xmlns:p="http://schemas.openxmlformats.org/presentationml/2006/main">
  <p:tag name="SLIDEHUBID" val="875036115213442495254305033262612427229019681888482721935753"/>
  <p:tag name="SLIDEHUBUPDATETIME" val="2022-03-31 14:00:15.370"/>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SLIDEHUB_TYPE" val="ICON"/>
</p:tagLst>
</file>

<file path=ppt/tags/tag14.xml><?xml version="1.0" encoding="utf-8"?>
<p:tagLst xmlns:a="http://schemas.openxmlformats.org/drawingml/2006/main" xmlns:r="http://schemas.openxmlformats.org/officeDocument/2006/relationships" xmlns:p="http://schemas.openxmlformats.org/presentationml/2006/main">
  <p:tag name="SLIDEHUBID" val="375933610867128135073542575565705808514735264284452791739262"/>
  <p:tag name="SLIDEHUBUPDATETIME" val="2023-06-20 08:07:04.912"/>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SLIDEHUB_TYPE" val="ICON"/>
</p:tagLst>
</file>

<file path=ppt/tags/tag17.xml><?xml version="1.0" encoding="utf-8"?>
<p:tagLst xmlns:a="http://schemas.openxmlformats.org/drawingml/2006/main" xmlns:r="http://schemas.openxmlformats.org/officeDocument/2006/relationships" xmlns:p="http://schemas.openxmlformats.org/presentationml/2006/main">
  <p:tag name="SLIDEHUB_TYPE" val="ICON"/>
</p:tagLst>
</file>

<file path=ppt/tags/tag18.xml><?xml version="1.0" encoding="utf-8"?>
<p:tagLst xmlns:a="http://schemas.openxmlformats.org/drawingml/2006/main" xmlns:r="http://schemas.openxmlformats.org/officeDocument/2006/relationships" xmlns:p="http://schemas.openxmlformats.org/presentationml/2006/main">
  <p:tag name="SLIDEHUB_TYPE" val="ICON"/>
</p:tagLst>
</file>

<file path=ppt/tags/tag19.xml><?xml version="1.0" encoding="utf-8"?>
<p:tagLst xmlns:a="http://schemas.openxmlformats.org/drawingml/2006/main" xmlns:r="http://schemas.openxmlformats.org/officeDocument/2006/relationships" xmlns:p="http://schemas.openxmlformats.org/presentationml/2006/main">
  <p:tag name="SLIDEHUB_TYPE" val="ICON"/>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OnZEjfHTTRW7Eq1_LyZbrQ"/>
</p:tagLst>
</file>

<file path=ppt/tags/tag20.xml><?xml version="1.0" encoding="utf-8"?>
<p:tagLst xmlns:a="http://schemas.openxmlformats.org/drawingml/2006/main" xmlns:r="http://schemas.openxmlformats.org/officeDocument/2006/relationships" xmlns:p="http://schemas.openxmlformats.org/presentationml/2006/main">
  <p:tag name="SLIDEHUB_TYPE" val="ICON"/>
</p:tagLst>
</file>

<file path=ppt/tags/tag21.xml><?xml version="1.0" encoding="utf-8"?>
<p:tagLst xmlns:a="http://schemas.openxmlformats.org/drawingml/2006/main" xmlns:r="http://schemas.openxmlformats.org/officeDocument/2006/relationships" xmlns:p="http://schemas.openxmlformats.org/presentationml/2006/main">
  <p:tag name="SLIDEHUB_TYPE" val="ICON"/>
</p:tagLst>
</file>

<file path=ppt/tags/tag22.xml><?xml version="1.0" encoding="utf-8"?>
<p:tagLst xmlns:a="http://schemas.openxmlformats.org/drawingml/2006/main" xmlns:r="http://schemas.openxmlformats.org/officeDocument/2006/relationships" xmlns:p="http://schemas.openxmlformats.org/presentationml/2006/main">
  <p:tag name="SLIDEHUB_TYPE" val="ICON"/>
</p:tagLst>
</file>

<file path=ppt/tags/tag23.xml><?xml version="1.0" encoding="utf-8"?>
<p:tagLst xmlns:a="http://schemas.openxmlformats.org/drawingml/2006/main" xmlns:r="http://schemas.openxmlformats.org/officeDocument/2006/relationships" xmlns:p="http://schemas.openxmlformats.org/presentationml/2006/main">
  <p:tag name="SLIDEHUB_TYPE" val="ICON"/>
</p:tagLst>
</file>

<file path=ppt/tags/tag24.xml><?xml version="1.0" encoding="utf-8"?>
<p:tagLst xmlns:a="http://schemas.openxmlformats.org/drawingml/2006/main" xmlns:r="http://schemas.openxmlformats.org/officeDocument/2006/relationships" xmlns:p="http://schemas.openxmlformats.org/presentationml/2006/main">
  <p:tag name="SLIDEHUBID" val="437136204042032196634550578623785116207479045636648714925307"/>
  <p:tag name="SLIDEHUBUPDATETIME" val="2023-06-21 07:30:12.818"/>
</p:tagLst>
</file>

<file path=ppt/tags/tag25.xml><?xml version="1.0" encoding="utf-8"?>
<p:tagLst xmlns:a="http://schemas.openxmlformats.org/drawingml/2006/main" xmlns:r="http://schemas.openxmlformats.org/officeDocument/2006/relationships" xmlns:p="http://schemas.openxmlformats.org/presentationml/2006/main">
  <p:tag name="SLIDEHUBID" val="752449208323729891393806997295186334904884348417525478836129"/>
  <p:tag name="SLIDEHUBUPDATETIME" val="2023-07-17 12:38:54.286"/>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SLIDEHUBID" val="1A9BB1B4-2587-4A9A-955A-BF7A59ECD038"/>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SLIDEHUBID" val="B3F8B0ED-28CB-44FB-B52E-325B01F19806"/>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SLIDEHUBID" val="465091373644756626227578531493218944378064381953088872565956"/>
  <p:tag name="SLIDEHUBUPDATETIME" val="2022-10-19 12:42:22.766"/>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SLIDEHUB_TYPE" val="ICON"/>
</p:tagLst>
</file>

<file path=ppt/tags/tag34.xml><?xml version="1.0" encoding="utf-8"?>
<p:tagLst xmlns:a="http://schemas.openxmlformats.org/drawingml/2006/main" xmlns:r="http://schemas.openxmlformats.org/officeDocument/2006/relationships" xmlns:p="http://schemas.openxmlformats.org/presentationml/2006/main">
  <p:tag name="SLIDEHUB_TYPE" val="ICON"/>
</p:tagLst>
</file>

<file path=ppt/tags/tag35.xml><?xml version="1.0" encoding="utf-8"?>
<p:tagLst xmlns:a="http://schemas.openxmlformats.org/drawingml/2006/main" xmlns:r="http://schemas.openxmlformats.org/officeDocument/2006/relationships" xmlns:p="http://schemas.openxmlformats.org/presentationml/2006/main">
  <p:tag name="SLIDEHUB_TYPE" val="ICON"/>
</p:tagLst>
</file>

<file path=ppt/tags/tag36.xml><?xml version="1.0" encoding="utf-8"?>
<p:tagLst xmlns:a="http://schemas.openxmlformats.org/drawingml/2006/main" xmlns:r="http://schemas.openxmlformats.org/officeDocument/2006/relationships" xmlns:p="http://schemas.openxmlformats.org/presentationml/2006/main">
  <p:tag name="SLIDEHUB_TYPE" val="ICON"/>
</p:tagLst>
</file>

<file path=ppt/tags/tag37.xml><?xml version="1.0" encoding="utf-8"?>
<p:tagLst xmlns:a="http://schemas.openxmlformats.org/drawingml/2006/main" xmlns:r="http://schemas.openxmlformats.org/officeDocument/2006/relationships" xmlns:p="http://schemas.openxmlformats.org/presentationml/2006/main">
  <p:tag name="SLIDEHUB_TYPE" val="ICON"/>
</p:tagLst>
</file>

<file path=ppt/tags/tag38.xml><?xml version="1.0" encoding="utf-8"?>
<p:tagLst xmlns:a="http://schemas.openxmlformats.org/drawingml/2006/main" xmlns:r="http://schemas.openxmlformats.org/officeDocument/2006/relationships" xmlns:p="http://schemas.openxmlformats.org/presentationml/2006/main">
  <p:tag name="SLIDEHUBID" val="875036115213442495254305033262612427229019681888482721935753"/>
  <p:tag name="SLIDEHUBUPDATETIME" val="2022-03-31 14:00:15.370"/>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OnZEjfHTTRW7Eq1_LyZbrQ"/>
</p:tagLst>
</file>

<file path=ppt/tags/tag40.xml><?xml version="1.0" encoding="utf-8"?>
<p:tagLst xmlns:a="http://schemas.openxmlformats.org/drawingml/2006/main" xmlns:r="http://schemas.openxmlformats.org/officeDocument/2006/relationships" xmlns:p="http://schemas.openxmlformats.org/presentationml/2006/main">
  <p:tag name="SLIDEHUB_TYPE" val="ICON"/>
</p:tagLst>
</file>

<file path=ppt/tags/tag5.xml><?xml version="1.0" encoding="utf-8"?>
<p:tagLst xmlns:a="http://schemas.openxmlformats.org/drawingml/2006/main" xmlns:r="http://schemas.openxmlformats.org/officeDocument/2006/relationships" xmlns:p="http://schemas.openxmlformats.org/presentationml/2006/main">
  <p:tag name="SLIDEHUBID" val="875036115213442495254305033262612427229019681888482721935753"/>
  <p:tag name="SLIDEHUBUPDATETIME" val="2022-03-31 14:00:15.370"/>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SLIDEHUB_TYPE" val="ICON"/>
</p:tagLst>
</file>

<file path=ppt/tags/tag8.xml><?xml version="1.0" encoding="utf-8"?>
<p:tagLst xmlns:a="http://schemas.openxmlformats.org/drawingml/2006/main" xmlns:r="http://schemas.openxmlformats.org/officeDocument/2006/relationships" xmlns:p="http://schemas.openxmlformats.org/presentationml/2006/main">
  <p:tag name="SLIDEHUBID" val="875036115213442495254305033262612427229019681888482721935753"/>
  <p:tag name="SLIDEHUBUPDATETIME" val="2022-03-31 14:00:15.370"/>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Rødekors">
      <a:dk1>
        <a:sysClr val="windowText" lastClr="000000"/>
      </a:dk1>
      <a:lt1>
        <a:sysClr val="window" lastClr="FFFFFF"/>
      </a:lt1>
      <a:dk2>
        <a:srgbClr val="E30A0B"/>
      </a:dk2>
      <a:lt2>
        <a:srgbClr val="FFFFFF"/>
      </a:lt2>
      <a:accent1>
        <a:srgbClr val="C8171E"/>
      </a:accent1>
      <a:accent2>
        <a:srgbClr val="F27581"/>
      </a:accent2>
      <a:accent3>
        <a:srgbClr val="F7B0BD"/>
      </a:accent3>
      <a:accent4>
        <a:srgbClr val="FCD2DD"/>
      </a:accent4>
      <a:accent5>
        <a:srgbClr val="FAF2F4"/>
      </a:accent5>
      <a:accent6>
        <a:srgbClr val="C6C4C5"/>
      </a:accent6>
      <a:hlink>
        <a:srgbClr val="0000FF"/>
      </a:hlink>
      <a:folHlink>
        <a:srgbClr val="800080"/>
      </a:folHlink>
    </a:clrScheme>
    <a:fontScheme name="Rødekor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171438" indent="-171438" algn="l">
          <a:buFont typeface="Arial" panose="020B0604020202020204" pitchFamily="34" charset="0"/>
          <a:buChar char="•"/>
          <a:defRPr sz="1100" dirty="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525"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12315BAC-481C-491A-BB19-EF190E229849}">
  <we:reference id="wa200001625" version="1.0.0.7" store="da-DK" storeType="OMEX"/>
  <we:alternateReferences>
    <we:reference id="wa200001625" version="1.0.0.7" store="" storeType="OMEX"/>
  </we:alternateReferences>
  <we:properties>
    <we:property name="Office.AutoShowTaskpaneWithDocument" value="false"/>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6ac194cf-e798-40b1-b06c-135d0d5fb928" xsi:nil="true"/>
    <lcf76f155ced4ddcb4097134ff3c332f xmlns="a888f041-7aeb-4760-979c-78e9888b7a53">
      <Terms xmlns="http://schemas.microsoft.com/office/infopath/2007/PartnerControls"/>
    </lcf76f155ced4ddcb4097134ff3c332f>
    <Dato xmlns="a888f041-7aeb-4760-979c-78e9888b7a5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D4F748E66BFAAE4BA23D90C6C08FC2A4" ma:contentTypeVersion="14" ma:contentTypeDescription="Opret et nyt dokument." ma:contentTypeScope="" ma:versionID="3bb6d673d8567d6e008fd962e1a36084">
  <xsd:schema xmlns:xsd="http://www.w3.org/2001/XMLSchema" xmlns:xs="http://www.w3.org/2001/XMLSchema" xmlns:p="http://schemas.microsoft.com/office/2006/metadata/properties" xmlns:ns2="a888f041-7aeb-4760-979c-78e9888b7a53" xmlns:ns3="6ac194cf-e798-40b1-b06c-135d0d5fb928" targetNamespace="http://schemas.microsoft.com/office/2006/metadata/properties" ma:root="true" ma:fieldsID="4eda8ab5339ddc3eadde2cb1338b4cc4" ns2:_="" ns3:_="">
    <xsd:import namespace="a888f041-7aeb-4760-979c-78e9888b7a53"/>
    <xsd:import namespace="6ac194cf-e798-40b1-b06c-135d0d5fb928"/>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Dato"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888f041-7aeb-4760-979c-78e9888b7a5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Billedmærker" ma:readOnly="false" ma:fieldId="{5cf76f15-5ced-4ddc-b409-7134ff3c332f}" ma:taxonomyMulti="true" ma:sspId="a6bba7c3-5107-49f1-abb3-1b46ebc15f72"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Dato" ma:index="21" nillable="true" ma:displayName="Dato" ma:format="DateTime" ma:internalName="Dato">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6ac194cf-e798-40b1-b06c-135d0d5fb928" elementFormDefault="qualified">
    <xsd:import namespace="http://schemas.microsoft.com/office/2006/documentManagement/types"/>
    <xsd:import namespace="http://schemas.microsoft.com/office/infopath/2007/PartnerControls"/>
    <xsd:element name="SharedWithUsers" ma:index="12"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Delt med detaljer" ma:internalName="SharedWithDetails" ma:readOnly="true">
      <xsd:simpleType>
        <xsd:restriction base="dms:Note">
          <xsd:maxLength value="255"/>
        </xsd:restriction>
      </xsd:simpleType>
    </xsd:element>
    <xsd:element name="TaxCatchAll" ma:index="16" nillable="true" ma:displayName="Taxonomy Catch All Column" ma:hidden="true" ma:list="{8b5e588f-ae90-4bc9-9800-49039b7480e1}" ma:internalName="TaxCatchAll" ma:showField="CatchAllData" ma:web="6ac194cf-e798-40b1-b06c-135d0d5fb92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C91782B-B5DE-4991-8E12-F63F40AAE276}">
  <ds:schemaRefs>
    <ds:schemaRef ds:uri="http://schemas.microsoft.com/sharepoint/v3/contenttype/forms"/>
  </ds:schemaRefs>
</ds:datastoreItem>
</file>

<file path=customXml/itemProps2.xml><?xml version="1.0" encoding="utf-8"?>
<ds:datastoreItem xmlns:ds="http://schemas.openxmlformats.org/officeDocument/2006/customXml" ds:itemID="{CD384648-A9D8-43B9-B837-25D63B79604F}">
  <ds:schemaRefs>
    <ds:schemaRef ds:uri="http://purl.org/dc/elements/1.1/"/>
    <ds:schemaRef ds:uri="http://schemas.microsoft.com/office/infopath/2007/PartnerControls"/>
    <ds:schemaRef ds:uri="http://schemas.openxmlformats.org/package/2006/metadata/core-properties"/>
    <ds:schemaRef ds:uri="http://schemas.microsoft.com/office/2006/documentManagement/types"/>
    <ds:schemaRef ds:uri="http://purl.org/dc/terms/"/>
    <ds:schemaRef ds:uri="http://www.w3.org/XML/1998/namespace"/>
    <ds:schemaRef ds:uri="http://purl.org/dc/dcmitype/"/>
    <ds:schemaRef ds:uri="6ac194cf-e798-40b1-b06c-135d0d5fb928"/>
    <ds:schemaRef ds:uri="a888f041-7aeb-4760-979c-78e9888b7a53"/>
    <ds:schemaRef ds:uri="http://schemas.microsoft.com/office/2006/metadata/properties"/>
  </ds:schemaRefs>
</ds:datastoreItem>
</file>

<file path=customXml/itemProps3.xml><?xml version="1.0" encoding="utf-8"?>
<ds:datastoreItem xmlns:ds="http://schemas.openxmlformats.org/officeDocument/2006/customXml" ds:itemID="{4E454D5A-AEB2-49C6-B3E5-3F28ED7F20B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888f041-7aeb-4760-979c-78e9888b7a53"/>
    <ds:schemaRef ds:uri="6ac194cf-e798-40b1-b06c-135d0d5fb92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8964</TotalTime>
  <Words>3097</Words>
  <Application>Microsoft Office PowerPoint</Application>
  <PresentationFormat>Widescreen</PresentationFormat>
  <Paragraphs>529</Paragraphs>
  <Slides>43</Slides>
  <Notes>42</Notes>
  <HiddenSlides>1</HiddenSlides>
  <MMClips>0</MMClips>
  <ScaleCrop>false</ScaleCrop>
  <HeadingPairs>
    <vt:vector size="8" baseType="variant">
      <vt:variant>
        <vt:lpstr>Benyttede skrifttyper</vt:lpstr>
      </vt:variant>
      <vt:variant>
        <vt:i4>5</vt:i4>
      </vt:variant>
      <vt:variant>
        <vt:lpstr>Tema</vt:lpstr>
      </vt:variant>
      <vt:variant>
        <vt:i4>1</vt:i4>
      </vt:variant>
      <vt:variant>
        <vt:lpstr>Integrerede OLE-servere</vt:lpstr>
      </vt:variant>
      <vt:variant>
        <vt:i4>1</vt:i4>
      </vt:variant>
      <vt:variant>
        <vt:lpstr>Slidetitler</vt:lpstr>
      </vt:variant>
      <vt:variant>
        <vt:i4>43</vt:i4>
      </vt:variant>
    </vt:vector>
  </HeadingPairs>
  <TitlesOfParts>
    <vt:vector size="50" baseType="lpstr">
      <vt:lpstr>Arial</vt:lpstr>
      <vt:lpstr>Biome Light</vt:lpstr>
      <vt:lpstr>Calibri</vt:lpstr>
      <vt:lpstr>Calibri Light</vt:lpstr>
      <vt:lpstr>Verdana</vt:lpstr>
      <vt:lpstr>Office-tema</vt:lpstr>
      <vt:lpstr>think-cell Slide</vt:lpstr>
      <vt:lpstr>Klargøring til kursusafholdelse (internt slide)</vt:lpstr>
      <vt:lpstr>Introduktionskursus for nye kasserere</vt:lpstr>
      <vt:lpstr>Dagsorden for Uniconta grundkursus</vt:lpstr>
      <vt:lpstr>PowerPoint-præsentation</vt:lpstr>
      <vt:lpstr>PowerPoint-præsentation</vt:lpstr>
      <vt:lpstr>PowerPoint-præsentation</vt:lpstr>
      <vt:lpstr>3 vigtige pointer om økonomien i Røde Kors</vt:lpstr>
      <vt:lpstr>Vedtægterne</vt:lpstr>
      <vt:lpstr>Økonomivejledning</vt:lpstr>
      <vt:lpstr>Økonomistyring</vt:lpstr>
      <vt:lpstr>Kassererens rolle Kassereren har som hovedopgave at være tovholder for de økonomiske opgaver i afdelingen (Økonomivejledningen 1.2, side 3)</vt:lpstr>
      <vt:lpstr>Kassererens rolle (fra Økonomivejledningen)</vt:lpstr>
      <vt:lpstr>Kassererens rolle</vt:lpstr>
      <vt:lpstr>Kassererens rolle</vt:lpstr>
      <vt:lpstr>Kassereren skal have adgang til</vt:lpstr>
      <vt:lpstr>Sikkerhed</vt:lpstr>
      <vt:lpstr>Økonomien i en Røde Kors afdeling</vt:lpstr>
      <vt:lpstr>Økonomien i en Røde Kors afdeling</vt:lpstr>
      <vt:lpstr>Økonomien i en Røde Kors afdeling 34% og overskydende driftsformue</vt:lpstr>
      <vt:lpstr>Fælles økonomisystem – kontoplan med dimensioner</vt:lpstr>
      <vt:lpstr>Det dobbelte bogføringsprincip</vt:lpstr>
      <vt:lpstr>Det dobbelte bogføringsprincip</vt:lpstr>
      <vt:lpstr>Ordforklaringer</vt:lpstr>
      <vt:lpstr>Kontoplan med dimensioner</vt:lpstr>
      <vt:lpstr>Kontoplan med dimensioner</vt:lpstr>
      <vt:lpstr>Demonstration</vt:lpstr>
      <vt:lpstr>Kontoplan med dimensioner – matrice-bogføring 1 Indtægtskonti i afdelingskontoplanen:</vt:lpstr>
      <vt:lpstr>Kontoplan med dimensioner – matrice-bogføring 2 Udsnit af udgiftskonti i afdelingskontoplanen: </vt:lpstr>
      <vt:lpstr>Kontoplan med dimensioner – matrice-bogføring 3 Eksempel på dimensioner for Aktiviteter og Midler </vt:lpstr>
      <vt:lpstr>Kontoplan med dimensioner – matrice-bogføring Eksempel</vt:lpstr>
      <vt:lpstr>Demonstration og hands-on i</vt:lpstr>
      <vt:lpstr>Demonstration og hands-on i</vt:lpstr>
      <vt:lpstr>Demonstration og hands-on i</vt:lpstr>
      <vt:lpstr>Demonstration og hands-on i</vt:lpstr>
      <vt:lpstr>Demonstration og hands-on i</vt:lpstr>
      <vt:lpstr>Demonstration og hands-on i</vt:lpstr>
      <vt:lpstr>Bogfør butik – ramme</vt:lpstr>
      <vt:lpstr>Demonstration og hands-on i</vt:lpstr>
      <vt:lpstr>Bogfør butik – afregning fra Nets</vt:lpstr>
      <vt:lpstr>Demonstration og hands-on i</vt:lpstr>
      <vt:lpstr>Fundamentet er på plads for nye tiltag</vt:lpstr>
      <vt:lpstr>Udestående spørgsmål og eventuelt</vt:lpstr>
      <vt:lpstr>PowerPoint-præ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20 M-rapport - Præsentation</dc:title>
  <dc:subject/>
  <dc:creator>Morten Stedstrup Mosgaard</dc:creator>
  <cp:keywords/>
  <dc:description/>
  <cp:lastModifiedBy>Bjarne Stavnshøj</cp:lastModifiedBy>
  <cp:revision>13</cp:revision>
  <cp:lastPrinted>2025-04-14T14:00:16Z</cp:lastPrinted>
  <dcterms:created xsi:type="dcterms:W3CDTF">2020-11-02T09:10:42Z</dcterms:created>
  <dcterms:modified xsi:type="dcterms:W3CDTF">2025-04-14T15:07:51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rkDocumentStatus">
    <vt:lpwstr>11;#Final|9ae6fcd9-b451-46c0-9019-188a10b11456</vt:lpwstr>
  </property>
  <property fmtid="{D5CDD505-2E9C-101B-9397-08002B2CF9AE}" pid="3" name="rkSubject">
    <vt:lpwstr>131;#Digitalisation development|4f3c163c-3ef0-47d3-b8c7-cd4bcfe5e5ae</vt:lpwstr>
  </property>
  <property fmtid="{D5CDD505-2E9C-101B-9397-08002B2CF9AE}" pid="4" name="rkDocDirection">
    <vt:lpwstr>10;#Internal|bf6bc60c-60b7-4f48-b412-c18e1ee58d20</vt:lpwstr>
  </property>
  <property fmtid="{D5CDD505-2E9C-101B-9397-08002B2CF9AE}" pid="5" name="rkProcess">
    <vt:lpwstr/>
  </property>
  <property fmtid="{D5CDD505-2E9C-101B-9397-08002B2CF9AE}" pid="6" name="rkCaseRespUnit">
    <vt:lpwstr>100;#Digitalisering:Digitale Projekter|cf599d1a-fa02-440f-a42a-96e84f2307a6</vt:lpwstr>
  </property>
  <property fmtid="{D5CDD505-2E9C-101B-9397-08002B2CF9AE}" pid="7" name="rkOpenConfidential">
    <vt:lpwstr>9;#Open|5b634c15-81a0-4474-a1b9-c7fcf95d35c4</vt:lpwstr>
  </property>
  <property fmtid="{D5CDD505-2E9C-101B-9397-08002B2CF9AE}" pid="8" name="MediaServiceImageTags">
    <vt:lpwstr/>
  </property>
  <property fmtid="{D5CDD505-2E9C-101B-9397-08002B2CF9AE}" pid="9" name="ContentTypeId">
    <vt:lpwstr>0x010100D4F748E66BFAAE4BA23D90C6C08FC2A4</vt:lpwstr>
  </property>
</Properties>
</file>